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theme/theme8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notesSlides/notesSlide9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2.xml" ContentType="application/vnd.openxmlformats-officedocument.presentationml.notesSlide+xml"/>
  <Override PartName="/ppt/tags/tag2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0.xml" ContentType="application/vnd.openxmlformats-officedocument.presentationml.tags+xml"/>
  <Override PartName="/ppt/notesSlides/notesSlide1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charts/chart2.xml" ContentType="application/vnd.openxmlformats-officedocument.drawingml.chart+xml"/>
  <Override PartName="/ppt/tags/tag33.xml" ContentType="application/vnd.openxmlformats-officedocument.presentationml.tags+xml"/>
  <Override PartName="/ppt/notesSlides/notesSlide14.xml" ContentType="application/vnd.openxmlformats-officedocument.presentationml.notesSlide+xml"/>
  <Override PartName="/ppt/tags/tag34.xml" ContentType="application/vnd.openxmlformats-officedocument.presentationml.tags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5.xml" ContentType="application/vnd.openxmlformats-officedocument.presentationml.tags+xml"/>
  <Override PartName="/ppt/notesSlides/notesSlide15.xml" ContentType="application/vnd.openxmlformats-officedocument.presentationml.notesSlide+xml"/>
  <Override PartName="/ppt/tags/tag3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49" r:id="rId4"/>
    <p:sldMasterId id="2147484566" r:id="rId5"/>
    <p:sldMasterId id="2147484665" r:id="rId6"/>
    <p:sldMasterId id="2147484977" r:id="rId7"/>
    <p:sldMasterId id="2147485002" r:id="rId8"/>
    <p:sldMasterId id="2147485026" r:id="rId9"/>
    <p:sldMasterId id="2147485263" r:id="rId10"/>
  </p:sldMasterIdLst>
  <p:notesMasterIdLst>
    <p:notesMasterId r:id="rId34"/>
  </p:notesMasterIdLst>
  <p:sldIdLst>
    <p:sldId id="329" r:id="rId11"/>
    <p:sldId id="2147483602" r:id="rId12"/>
    <p:sldId id="2147483601" r:id="rId13"/>
    <p:sldId id="272" r:id="rId14"/>
    <p:sldId id="2147483608" r:id="rId15"/>
    <p:sldId id="2147483603" r:id="rId16"/>
    <p:sldId id="256" r:id="rId17"/>
    <p:sldId id="2147483622" r:id="rId18"/>
    <p:sldId id="313" r:id="rId19"/>
    <p:sldId id="331" r:id="rId20"/>
    <p:sldId id="337" r:id="rId21"/>
    <p:sldId id="265" r:id="rId22"/>
    <p:sldId id="2147483629" r:id="rId23"/>
    <p:sldId id="2147483632" r:id="rId24"/>
    <p:sldId id="288" r:id="rId25"/>
    <p:sldId id="2147483647" r:id="rId26"/>
    <p:sldId id="335" r:id="rId27"/>
    <p:sldId id="268" r:id="rId28"/>
    <p:sldId id="261" r:id="rId29"/>
    <p:sldId id="263" r:id="rId30"/>
    <p:sldId id="264" r:id="rId31"/>
    <p:sldId id="269" r:id="rId32"/>
    <p:sldId id="257" r:id="rId33"/>
  </p:sldIdLst>
  <p:sldSz cx="12192000" cy="6858000"/>
  <p:notesSz cx="6810375" cy="9942513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genda &amp; Introduction" id="{3294833A-9F8B-4E20-8671-9D0159B74925}">
          <p14:sldIdLst>
            <p14:sldId id="329"/>
            <p14:sldId id="2147483602"/>
            <p14:sldId id="2147483601"/>
            <p14:sldId id="272"/>
            <p14:sldId id="2147483608"/>
            <p14:sldId id="2147483603"/>
            <p14:sldId id="256"/>
            <p14:sldId id="2147483622"/>
            <p14:sldId id="313"/>
            <p14:sldId id="331"/>
            <p14:sldId id="337"/>
            <p14:sldId id="265"/>
            <p14:sldId id="2147483629"/>
            <p14:sldId id="2147483632"/>
            <p14:sldId id="288"/>
            <p14:sldId id="2147483647"/>
            <p14:sldId id="335"/>
            <p14:sldId id="268"/>
            <p14:sldId id="261"/>
            <p14:sldId id="263"/>
            <p14:sldId id="264"/>
            <p14:sldId id="269"/>
            <p14:sldId id="25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8F9"/>
    <a:srgbClr val="EAEEF2"/>
    <a:srgbClr val="E5EAEF"/>
    <a:srgbClr val="DEE5EB"/>
    <a:srgbClr val="EBEFF1"/>
    <a:srgbClr val="E9F5F7"/>
    <a:srgbClr val="00A1E4"/>
    <a:srgbClr val="002060"/>
    <a:srgbClr val="051039"/>
    <a:srgbClr val="050F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2E67FE4-B470-4D5E-A6F3-298D55BF2FAC}" v="16" dt="2026-04-09T16:31:59.08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660" autoAdjust="0"/>
    <p:restoredTop sz="96357" autoAdjust="0"/>
  </p:normalViewPr>
  <p:slideViewPr>
    <p:cSldViewPr snapToGrid="0">
      <p:cViewPr>
        <p:scale>
          <a:sx n="110" d="100"/>
          <a:sy n="110" d="100"/>
        </p:scale>
        <p:origin x="744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tableStyles" Target="tableStyles.xml"/><Relationship Id="rId21" Type="http://schemas.openxmlformats.org/officeDocument/2006/relationships/slide" Target="slides/slide11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tags" Target="tags/tag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hiette, Melanie (SCCO) - AFKL" userId="S::melanie.mahiette@airfranceklm.com::4dbe0de5-96e2-4b94-840e-adc5b7369414" providerId="AD" clId="Web-{2FD19069-55D2-E804-5457-CB5A873FDC33}"/>
    <pc:docChg chg="modSld">
      <pc:chgData name="Mahiette, Melanie (SCCO) - AFKL" userId="S::melanie.mahiette@airfranceklm.com::4dbe0de5-96e2-4b94-840e-adc5b7369414" providerId="AD" clId="Web-{2FD19069-55D2-E804-5457-CB5A873FDC33}" dt="2026-03-31T09:23:19.201" v="0" actId="20577"/>
      <pc:docMkLst>
        <pc:docMk/>
      </pc:docMkLst>
      <pc:sldChg chg="modSp">
        <pc:chgData name="Mahiette, Melanie (SCCO) - AFKL" userId="S::melanie.mahiette@airfranceklm.com::4dbe0de5-96e2-4b94-840e-adc5b7369414" providerId="AD" clId="Web-{2FD19069-55D2-E804-5457-CB5A873FDC33}" dt="2026-03-31T09:23:19.201" v="0" actId="20577"/>
        <pc:sldMkLst>
          <pc:docMk/>
          <pc:sldMk cId="1330757707" sldId="329"/>
        </pc:sldMkLst>
        <pc:spChg chg="mod">
          <ac:chgData name="Mahiette, Melanie (SCCO) - AFKL" userId="S::melanie.mahiette@airfranceklm.com::4dbe0de5-96e2-4b94-840e-adc5b7369414" providerId="AD" clId="Web-{2FD19069-55D2-E804-5457-CB5A873FDC33}" dt="2026-03-31T09:23:19.201" v="0" actId="20577"/>
          <ac:spMkLst>
            <pc:docMk/>
            <pc:sldMk cId="1330757707" sldId="329"/>
            <ac:spMk id="4" creationId="{ABBD6C35-C75E-4967-9671-4B141E38148F}"/>
          </ac:spMkLst>
        </pc:spChg>
      </pc:sldChg>
    </pc:docChg>
  </pc:docChgLst>
  <pc:docChgLst>
    <pc:chgData name="Rainglas, Chloe (SCCO) - AF" userId="d456e4b2-ec49-4da6-9c71-56b98e1d5a65" providerId="ADAL" clId="{48090AA2-B4AD-4CFB-BC3A-C2F78FB296BA}"/>
    <pc:docChg chg="custSel addSld delSld modSld sldOrd modSection">
      <pc:chgData name="Rainglas, Chloe (SCCO) - AF" userId="d456e4b2-ec49-4da6-9c71-56b98e1d5a65" providerId="ADAL" clId="{48090AA2-B4AD-4CFB-BC3A-C2F78FB296BA}" dt="2026-03-11T11:31:03.544" v="149" actId="1076"/>
      <pc:docMkLst>
        <pc:docMk/>
      </pc:docMkLst>
      <pc:sldChg chg="addSp delSp modSp mod">
        <pc:chgData name="Rainglas, Chloe (SCCO) - AF" userId="d456e4b2-ec49-4da6-9c71-56b98e1d5a65" providerId="ADAL" clId="{48090AA2-B4AD-4CFB-BC3A-C2F78FB296BA}" dt="2026-03-11T11:31:03.544" v="149" actId="1076"/>
        <pc:sldMkLst>
          <pc:docMk/>
          <pc:sldMk cId="1620327784" sldId="257"/>
        </pc:sldMkLst>
        <pc:spChg chg="mod">
          <ac:chgData name="Rainglas, Chloe (SCCO) - AF" userId="d456e4b2-ec49-4da6-9c71-56b98e1d5a65" providerId="ADAL" clId="{48090AA2-B4AD-4CFB-BC3A-C2F78FB296BA}" dt="2026-03-11T11:30:42.680" v="139" actId="478"/>
          <ac:spMkLst>
            <pc:docMk/>
            <pc:sldMk cId="1620327784" sldId="257"/>
            <ac:spMk id="11" creationId="{96A47532-0E7D-1588-6AD8-3A8ECABA041A}"/>
          </ac:spMkLst>
        </pc:spChg>
        <pc:grpChg chg="mod">
          <ac:chgData name="Rainglas, Chloe (SCCO) - AF" userId="d456e4b2-ec49-4da6-9c71-56b98e1d5a65" providerId="ADAL" clId="{48090AA2-B4AD-4CFB-BC3A-C2F78FB296BA}" dt="2026-03-11T11:30:42.680" v="139" actId="478"/>
          <ac:grpSpMkLst>
            <pc:docMk/>
            <pc:sldMk cId="1620327784" sldId="257"/>
            <ac:grpSpMk id="10" creationId="{4A315656-AA01-5072-9DD9-0110E168049A}"/>
          </ac:grpSpMkLst>
        </pc:grpChg>
        <pc:picChg chg="add mod">
          <ac:chgData name="Rainglas, Chloe (SCCO) - AF" userId="d456e4b2-ec49-4da6-9c71-56b98e1d5a65" providerId="ADAL" clId="{48090AA2-B4AD-4CFB-BC3A-C2F78FB296BA}" dt="2026-03-11T11:31:03.544" v="149" actId="1076"/>
          <ac:picMkLst>
            <pc:docMk/>
            <pc:sldMk cId="1620327784" sldId="257"/>
            <ac:picMk id="6" creationId="{D2682C2E-3C7B-7213-60A5-BB52139667F3}"/>
          </ac:picMkLst>
        </pc:picChg>
        <pc:picChg chg="mod">
          <ac:chgData name="Rainglas, Chloe (SCCO) - AF" userId="d456e4b2-ec49-4da6-9c71-56b98e1d5a65" providerId="ADAL" clId="{48090AA2-B4AD-4CFB-BC3A-C2F78FB296BA}" dt="2026-03-11T11:30:42.680" v="139" actId="478"/>
          <ac:picMkLst>
            <pc:docMk/>
            <pc:sldMk cId="1620327784" sldId="257"/>
            <ac:picMk id="13" creationId="{71186369-D6E5-25EB-E3F2-5E5B46F3842A}"/>
          </ac:picMkLst>
        </pc:picChg>
        <pc:picChg chg="mod">
          <ac:chgData name="Rainglas, Chloe (SCCO) - AF" userId="d456e4b2-ec49-4da6-9c71-56b98e1d5a65" providerId="ADAL" clId="{48090AA2-B4AD-4CFB-BC3A-C2F78FB296BA}" dt="2026-03-11T11:30:42.680" v="139" actId="478"/>
          <ac:picMkLst>
            <pc:docMk/>
            <pc:sldMk cId="1620327784" sldId="257"/>
            <ac:picMk id="18" creationId="{399F7FD8-5F71-D15E-B8E3-BC63A70CF0E8}"/>
          </ac:picMkLst>
        </pc:picChg>
        <pc:picChg chg="mod">
          <ac:chgData name="Rainglas, Chloe (SCCO) - AF" userId="d456e4b2-ec49-4da6-9c71-56b98e1d5a65" providerId="ADAL" clId="{48090AA2-B4AD-4CFB-BC3A-C2F78FB296BA}" dt="2026-03-11T11:30:42.680" v="139" actId="478"/>
          <ac:picMkLst>
            <pc:docMk/>
            <pc:sldMk cId="1620327784" sldId="257"/>
            <ac:picMk id="20" creationId="{B7C1259C-6A7A-2A4C-D866-A04B8D08BF33}"/>
          </ac:picMkLst>
        </pc:picChg>
      </pc:sldChg>
      <pc:sldChg chg="addSp delSp modSp mod">
        <pc:chgData name="Rainglas, Chloe (SCCO) - AF" userId="d456e4b2-ec49-4da6-9c71-56b98e1d5a65" providerId="ADAL" clId="{48090AA2-B4AD-4CFB-BC3A-C2F78FB296BA}" dt="2026-03-11T11:29:47.706" v="126" actId="732"/>
        <pc:sldMkLst>
          <pc:docMk/>
          <pc:sldMk cId="988993945" sldId="261"/>
        </pc:sldMkLst>
        <pc:picChg chg="add mod">
          <ac:chgData name="Rainglas, Chloe (SCCO) - AF" userId="d456e4b2-ec49-4da6-9c71-56b98e1d5a65" providerId="ADAL" clId="{48090AA2-B4AD-4CFB-BC3A-C2F78FB296BA}" dt="2026-03-11T11:23:25.997" v="107" actId="1076"/>
          <ac:picMkLst>
            <pc:docMk/>
            <pc:sldMk cId="988993945" sldId="261"/>
            <ac:picMk id="5" creationId="{A6CD790C-D849-B981-C85E-B48395EBDD1B}"/>
          </ac:picMkLst>
        </pc:picChg>
        <pc:picChg chg="add mod modCrop">
          <ac:chgData name="Rainglas, Chloe (SCCO) - AF" userId="d456e4b2-ec49-4da6-9c71-56b98e1d5a65" providerId="ADAL" clId="{48090AA2-B4AD-4CFB-BC3A-C2F78FB296BA}" dt="2026-03-11T11:29:47.706" v="126" actId="732"/>
          <ac:picMkLst>
            <pc:docMk/>
            <pc:sldMk cId="988993945" sldId="261"/>
            <ac:picMk id="18" creationId="{D4F5BE17-FD29-A71E-2ED3-880DE8BCACBB}"/>
          </ac:picMkLst>
        </pc:picChg>
      </pc:sldChg>
      <pc:sldChg chg="addSp delSp modSp mod">
        <pc:chgData name="Rainglas, Chloe (SCCO) - AF" userId="d456e4b2-ec49-4da6-9c71-56b98e1d5a65" providerId="ADAL" clId="{48090AA2-B4AD-4CFB-BC3A-C2F78FB296BA}" dt="2026-03-11T11:15:01.236" v="67" actId="1076"/>
        <pc:sldMkLst>
          <pc:docMk/>
          <pc:sldMk cId="1941047258" sldId="265"/>
        </pc:sldMkLst>
        <pc:picChg chg="add mod">
          <ac:chgData name="Rainglas, Chloe (SCCO) - AF" userId="d456e4b2-ec49-4da6-9c71-56b98e1d5a65" providerId="ADAL" clId="{48090AA2-B4AD-4CFB-BC3A-C2F78FB296BA}" dt="2026-03-11T11:14:46.599" v="59" actId="1076"/>
          <ac:picMkLst>
            <pc:docMk/>
            <pc:sldMk cId="1941047258" sldId="265"/>
            <ac:picMk id="12" creationId="{31BEB5B5-14A0-C2EF-9486-DA984A14F89F}"/>
          </ac:picMkLst>
        </pc:picChg>
        <pc:picChg chg="add mod">
          <ac:chgData name="Rainglas, Chloe (SCCO) - AF" userId="d456e4b2-ec49-4da6-9c71-56b98e1d5a65" providerId="ADAL" clId="{48090AA2-B4AD-4CFB-BC3A-C2F78FB296BA}" dt="2026-03-11T11:15:01.236" v="67" actId="1076"/>
          <ac:picMkLst>
            <pc:docMk/>
            <pc:sldMk cId="1941047258" sldId="265"/>
            <ac:picMk id="17" creationId="{31969934-DAFD-EE4E-F5B9-4EB6C8E07026}"/>
          </ac:picMkLst>
        </pc:picChg>
      </pc:sldChg>
      <pc:sldChg chg="add del">
        <pc:chgData name="Rainglas, Chloe (SCCO) - AF" userId="d456e4b2-ec49-4da6-9c71-56b98e1d5a65" providerId="ADAL" clId="{48090AA2-B4AD-4CFB-BC3A-C2F78FB296BA}" dt="2026-03-11T09:54:27.992" v="11"/>
        <pc:sldMkLst>
          <pc:docMk/>
          <pc:sldMk cId="1114245423" sldId="272"/>
        </pc:sldMkLst>
      </pc:sldChg>
      <pc:sldChg chg="addSp delSp modSp mod">
        <pc:chgData name="Rainglas, Chloe (SCCO) - AF" userId="d456e4b2-ec49-4da6-9c71-56b98e1d5a65" providerId="ADAL" clId="{48090AA2-B4AD-4CFB-BC3A-C2F78FB296BA}" dt="2026-03-11T11:20:10.449" v="87" actId="1076"/>
        <pc:sldMkLst>
          <pc:docMk/>
          <pc:sldMk cId="205649095" sldId="288"/>
        </pc:sldMkLst>
        <pc:picChg chg="add mod">
          <ac:chgData name="Rainglas, Chloe (SCCO) - AF" userId="d456e4b2-ec49-4da6-9c71-56b98e1d5a65" providerId="ADAL" clId="{48090AA2-B4AD-4CFB-BC3A-C2F78FB296BA}" dt="2026-03-11T11:20:10.449" v="87" actId="1076"/>
          <ac:picMkLst>
            <pc:docMk/>
            <pc:sldMk cId="205649095" sldId="288"/>
            <ac:picMk id="35" creationId="{EDBDE50D-7DE2-F3F4-7FFC-26199F6EF982}"/>
          </ac:picMkLst>
        </pc:picChg>
      </pc:sldChg>
      <pc:sldChg chg="modSp mod">
        <pc:chgData name="Rainglas, Chloe (SCCO) - AF" userId="d456e4b2-ec49-4da6-9c71-56b98e1d5a65" providerId="ADAL" clId="{48090AA2-B4AD-4CFB-BC3A-C2F78FB296BA}" dt="2026-03-11T09:57:35.256" v="17" actId="20577"/>
        <pc:sldMkLst>
          <pc:docMk/>
          <pc:sldMk cId="1330757707" sldId="329"/>
        </pc:sldMkLst>
        <pc:spChg chg="mod">
          <ac:chgData name="Rainglas, Chloe (SCCO) - AF" userId="d456e4b2-ec49-4da6-9c71-56b98e1d5a65" providerId="ADAL" clId="{48090AA2-B4AD-4CFB-BC3A-C2F78FB296BA}" dt="2026-03-11T09:57:35.256" v="17" actId="20577"/>
          <ac:spMkLst>
            <pc:docMk/>
            <pc:sldMk cId="1330757707" sldId="329"/>
            <ac:spMk id="4" creationId="{ABBD6C35-C75E-4967-9671-4B141E38148F}"/>
          </ac:spMkLst>
        </pc:spChg>
      </pc:sldChg>
      <pc:sldChg chg="addSp delSp modSp mod">
        <pc:chgData name="Rainglas, Chloe (SCCO) - AF" userId="d456e4b2-ec49-4da6-9c71-56b98e1d5a65" providerId="ADAL" clId="{48090AA2-B4AD-4CFB-BC3A-C2F78FB296BA}" dt="2026-03-11T11:14:10.626" v="49" actId="1076"/>
        <pc:sldMkLst>
          <pc:docMk/>
          <pc:sldMk cId="2586699794" sldId="337"/>
        </pc:sldMkLst>
        <pc:picChg chg="add mod">
          <ac:chgData name="Rainglas, Chloe (SCCO) - AF" userId="d456e4b2-ec49-4da6-9c71-56b98e1d5a65" providerId="ADAL" clId="{48090AA2-B4AD-4CFB-BC3A-C2F78FB296BA}" dt="2026-03-11T11:14:10.626" v="49" actId="1076"/>
          <ac:picMkLst>
            <pc:docMk/>
            <pc:sldMk cId="2586699794" sldId="337"/>
            <ac:picMk id="8" creationId="{8DCC4C3C-825C-1256-0620-3D124D715B8F}"/>
          </ac:picMkLst>
        </pc:picChg>
      </pc:sldChg>
      <pc:sldChg chg="addSp delSp modSp mod">
        <pc:chgData name="Rainglas, Chloe (SCCO) - AF" userId="d456e4b2-ec49-4da6-9c71-56b98e1d5a65" providerId="ADAL" clId="{48090AA2-B4AD-4CFB-BC3A-C2F78FB296BA}" dt="2026-03-11T11:11:20.379" v="41" actId="14100"/>
        <pc:sldMkLst>
          <pc:docMk/>
          <pc:sldMk cId="593614015" sldId="2147483622"/>
        </pc:sldMkLst>
        <pc:picChg chg="add mod">
          <ac:chgData name="Rainglas, Chloe (SCCO) - AF" userId="d456e4b2-ec49-4da6-9c71-56b98e1d5a65" providerId="ADAL" clId="{48090AA2-B4AD-4CFB-BC3A-C2F78FB296BA}" dt="2026-03-11T11:11:00.264" v="33" actId="1076"/>
          <ac:picMkLst>
            <pc:docMk/>
            <pc:sldMk cId="593614015" sldId="2147483622"/>
            <ac:picMk id="16" creationId="{DDA0AB73-53CA-95BC-41D6-01E3F11A7D6E}"/>
          </ac:picMkLst>
        </pc:picChg>
      </pc:sldChg>
    </pc:docChg>
  </pc:docChgLst>
  <pc:docChgLst>
    <pc:chgData name="Mahiette, Melanie (SCCO) - AFKL" userId="4dbe0de5-96e2-4b94-840e-adc5b7369414" providerId="ADAL" clId="{712047D3-337C-4224-93F9-1E85E3332BD7}"/>
    <pc:docChg chg="undo custSel delSld modSld modSection">
      <pc:chgData name="Mahiette, Melanie (SCCO) - AFKL" userId="4dbe0de5-96e2-4b94-840e-adc5b7369414" providerId="ADAL" clId="{712047D3-337C-4224-93F9-1E85E3332BD7}" dt="2026-04-09T16:37:06.197" v="345" actId="20577"/>
      <pc:docMkLst>
        <pc:docMk/>
      </pc:docMkLst>
      <pc:sldChg chg="modSp mod">
        <pc:chgData name="Mahiette, Melanie (SCCO) - AFKL" userId="4dbe0de5-96e2-4b94-840e-adc5b7369414" providerId="ADAL" clId="{712047D3-337C-4224-93F9-1E85E3332BD7}" dt="2026-04-09T14:11:16.893" v="262" actId="6549"/>
        <pc:sldMkLst>
          <pc:docMk/>
          <pc:sldMk cId="2253204983" sldId="256"/>
        </pc:sldMkLst>
        <pc:spChg chg="mod">
          <ac:chgData name="Mahiette, Melanie (SCCO) - AFKL" userId="4dbe0de5-96e2-4b94-840e-adc5b7369414" providerId="ADAL" clId="{712047D3-337C-4224-93F9-1E85E3332BD7}" dt="2026-04-09T14:11:16.893" v="262" actId="6549"/>
          <ac:spMkLst>
            <pc:docMk/>
            <pc:sldMk cId="2253204983" sldId="256"/>
            <ac:spMk id="2" creationId="{7D238D21-AA8C-AFBE-20F6-1ED1F85C88BD}"/>
          </ac:spMkLst>
        </pc:spChg>
        <pc:spChg chg="mod">
          <ac:chgData name="Mahiette, Melanie (SCCO) - AFKL" userId="4dbe0de5-96e2-4b94-840e-adc5b7369414" providerId="ADAL" clId="{712047D3-337C-4224-93F9-1E85E3332BD7}" dt="2026-04-02T09:06:09.036" v="84" actId="20577"/>
          <ac:spMkLst>
            <pc:docMk/>
            <pc:sldMk cId="2253204983" sldId="256"/>
            <ac:spMk id="17" creationId="{C2DD3126-457B-3325-5712-CED1F451DC31}"/>
          </ac:spMkLst>
        </pc:spChg>
        <pc:spChg chg="mod">
          <ac:chgData name="Mahiette, Melanie (SCCO) - AFKL" userId="4dbe0de5-96e2-4b94-840e-adc5b7369414" providerId="ADAL" clId="{712047D3-337C-4224-93F9-1E85E3332BD7}" dt="2026-04-02T09:06:23.910" v="90" actId="20577"/>
          <ac:spMkLst>
            <pc:docMk/>
            <pc:sldMk cId="2253204983" sldId="256"/>
            <ac:spMk id="18" creationId="{CDCF70D4-06D3-B05E-07BE-F63EF440B0A7}"/>
          </ac:spMkLst>
        </pc:spChg>
        <pc:spChg chg="mod">
          <ac:chgData name="Mahiette, Melanie (SCCO) - AFKL" userId="4dbe0de5-96e2-4b94-840e-adc5b7369414" providerId="ADAL" clId="{712047D3-337C-4224-93F9-1E85E3332BD7}" dt="2026-04-02T09:06:33.624" v="96" actId="20577"/>
          <ac:spMkLst>
            <pc:docMk/>
            <pc:sldMk cId="2253204983" sldId="256"/>
            <ac:spMk id="33" creationId="{8C6F01DD-8839-BA62-B62B-117889B85829}"/>
          </ac:spMkLst>
        </pc:spChg>
      </pc:sldChg>
      <pc:sldChg chg="addSp delSp modSp mod">
        <pc:chgData name="Mahiette, Melanie (SCCO) - AFKL" userId="4dbe0de5-96e2-4b94-840e-adc5b7369414" providerId="ADAL" clId="{712047D3-337C-4224-93F9-1E85E3332BD7}" dt="2026-04-09T16:11:25.678" v="283" actId="478"/>
        <pc:sldMkLst>
          <pc:docMk/>
          <pc:sldMk cId="1620327784" sldId="257"/>
        </pc:sldMkLst>
        <pc:spChg chg="mod">
          <ac:chgData name="Mahiette, Melanie (SCCO) - AFKL" userId="4dbe0de5-96e2-4b94-840e-adc5b7369414" providerId="ADAL" clId="{712047D3-337C-4224-93F9-1E85E3332BD7}" dt="2026-04-02T09:55:15.100" v="234" actId="1076"/>
          <ac:spMkLst>
            <pc:docMk/>
            <pc:sldMk cId="1620327784" sldId="257"/>
            <ac:spMk id="11" creationId="{96A47532-0E7D-1588-6AD8-3A8ECABA041A}"/>
          </ac:spMkLst>
        </pc:spChg>
        <pc:grpChg chg="mod">
          <ac:chgData name="Mahiette, Melanie (SCCO) - AFKL" userId="4dbe0de5-96e2-4b94-840e-adc5b7369414" providerId="ADAL" clId="{712047D3-337C-4224-93F9-1E85E3332BD7}" dt="2026-04-02T09:55:15.100" v="234" actId="1076"/>
          <ac:grpSpMkLst>
            <pc:docMk/>
            <pc:sldMk cId="1620327784" sldId="257"/>
            <ac:grpSpMk id="10" creationId="{4A315656-AA01-5072-9DD9-0110E168049A}"/>
          </ac:grpSpMkLst>
        </pc:grpChg>
        <pc:picChg chg="add del mod">
          <ac:chgData name="Mahiette, Melanie (SCCO) - AFKL" userId="4dbe0de5-96e2-4b94-840e-adc5b7369414" providerId="ADAL" clId="{712047D3-337C-4224-93F9-1E85E3332BD7}" dt="2026-04-09T16:04:05.498" v="278" actId="478"/>
          <ac:picMkLst>
            <pc:docMk/>
            <pc:sldMk cId="1620327784" sldId="257"/>
            <ac:picMk id="3" creationId="{F120284C-89CD-7651-489C-E910546C2095}"/>
          </ac:picMkLst>
        </pc:picChg>
        <pc:picChg chg="add del mod">
          <ac:chgData name="Mahiette, Melanie (SCCO) - AFKL" userId="4dbe0de5-96e2-4b94-840e-adc5b7369414" providerId="ADAL" clId="{712047D3-337C-4224-93F9-1E85E3332BD7}" dt="2026-04-09T16:11:25.678" v="283" actId="478"/>
          <ac:picMkLst>
            <pc:docMk/>
            <pc:sldMk cId="1620327784" sldId="257"/>
            <ac:picMk id="4" creationId="{4185CFB5-9829-D617-186E-A517E7BED34E}"/>
          </ac:picMkLst>
        </pc:picChg>
        <pc:picChg chg="add del mod">
          <ac:chgData name="Mahiette, Melanie (SCCO) - AFKL" userId="4dbe0de5-96e2-4b94-840e-adc5b7369414" providerId="ADAL" clId="{712047D3-337C-4224-93F9-1E85E3332BD7}" dt="2026-04-09T16:04:33.956" v="280" actId="478"/>
          <ac:picMkLst>
            <pc:docMk/>
            <pc:sldMk cId="1620327784" sldId="257"/>
            <ac:picMk id="5" creationId="{98EB0FF4-8E5E-712F-ED59-BBC55D274CC3}"/>
          </ac:picMkLst>
        </pc:picChg>
        <pc:picChg chg="mod">
          <ac:chgData name="Mahiette, Melanie (SCCO) - AFKL" userId="4dbe0de5-96e2-4b94-840e-adc5b7369414" providerId="ADAL" clId="{712047D3-337C-4224-93F9-1E85E3332BD7}" dt="2026-04-09T16:04:43.359" v="282" actId="1076"/>
          <ac:picMkLst>
            <pc:docMk/>
            <pc:sldMk cId="1620327784" sldId="257"/>
            <ac:picMk id="6" creationId="{D2682C2E-3C7B-7213-60A5-BB52139667F3}"/>
          </ac:picMkLst>
        </pc:picChg>
        <pc:picChg chg="add mod">
          <ac:chgData name="Mahiette, Melanie (SCCO) - AFKL" userId="4dbe0de5-96e2-4b94-840e-adc5b7369414" providerId="ADAL" clId="{712047D3-337C-4224-93F9-1E85E3332BD7}" dt="2026-04-09T16:04:34.349" v="281"/>
          <ac:picMkLst>
            <pc:docMk/>
            <pc:sldMk cId="1620327784" sldId="257"/>
            <ac:picMk id="7" creationId="{1DA5E5B6-F9C3-5076-C17A-965C77C2ABBD}"/>
          </ac:picMkLst>
        </pc:picChg>
        <pc:picChg chg="mod">
          <ac:chgData name="Mahiette, Melanie (SCCO) - AFKL" userId="4dbe0de5-96e2-4b94-840e-adc5b7369414" providerId="ADAL" clId="{712047D3-337C-4224-93F9-1E85E3332BD7}" dt="2026-04-02T09:55:15.100" v="234" actId="1076"/>
          <ac:picMkLst>
            <pc:docMk/>
            <pc:sldMk cId="1620327784" sldId="257"/>
            <ac:picMk id="13" creationId="{71186369-D6E5-25EB-E3F2-5E5B46F3842A}"/>
          </ac:picMkLst>
        </pc:picChg>
        <pc:picChg chg="mod">
          <ac:chgData name="Mahiette, Melanie (SCCO) - AFKL" userId="4dbe0de5-96e2-4b94-840e-adc5b7369414" providerId="ADAL" clId="{712047D3-337C-4224-93F9-1E85E3332BD7}" dt="2026-04-02T09:55:15.100" v="234" actId="1076"/>
          <ac:picMkLst>
            <pc:docMk/>
            <pc:sldMk cId="1620327784" sldId="257"/>
            <ac:picMk id="18" creationId="{399F7FD8-5F71-D15E-B8E3-BC63A70CF0E8}"/>
          </ac:picMkLst>
        </pc:picChg>
        <pc:picChg chg="mod">
          <ac:chgData name="Mahiette, Melanie (SCCO) - AFKL" userId="4dbe0de5-96e2-4b94-840e-adc5b7369414" providerId="ADAL" clId="{712047D3-337C-4224-93F9-1E85E3332BD7}" dt="2026-04-02T09:55:15.100" v="234" actId="1076"/>
          <ac:picMkLst>
            <pc:docMk/>
            <pc:sldMk cId="1620327784" sldId="257"/>
            <ac:picMk id="20" creationId="{B7C1259C-6A7A-2A4C-D866-A04B8D08BF33}"/>
          </ac:picMkLst>
        </pc:picChg>
        <pc:picChg chg="add mod">
          <ac:chgData name="Mahiette, Melanie (SCCO) - AFKL" userId="4dbe0de5-96e2-4b94-840e-adc5b7369414" providerId="ADAL" clId="{712047D3-337C-4224-93F9-1E85E3332BD7}" dt="2026-04-02T09:43:55.053" v="214" actId="1076"/>
          <ac:picMkLst>
            <pc:docMk/>
            <pc:sldMk cId="1620327784" sldId="257"/>
            <ac:picMk id="1026" creationId="{BA060C09-A2CC-5AA3-CEB7-6967C8206036}"/>
          </ac:picMkLst>
        </pc:picChg>
        <pc:picChg chg="add mod">
          <ac:chgData name="Mahiette, Melanie (SCCO) - AFKL" userId="4dbe0de5-96e2-4b94-840e-adc5b7369414" providerId="ADAL" clId="{712047D3-337C-4224-93F9-1E85E3332BD7}" dt="2026-04-02T09:54:37.974" v="223" actId="1076"/>
          <ac:picMkLst>
            <pc:docMk/>
            <pc:sldMk cId="1620327784" sldId="257"/>
            <ac:picMk id="1030" creationId="{2C63CECA-EA9D-72A1-9606-F213DAEFAB9F}"/>
          </ac:picMkLst>
        </pc:picChg>
      </pc:sldChg>
      <pc:sldChg chg="addSp delSp modSp mod">
        <pc:chgData name="Mahiette, Melanie (SCCO) - AFKL" userId="4dbe0de5-96e2-4b94-840e-adc5b7369414" providerId="ADAL" clId="{712047D3-337C-4224-93F9-1E85E3332BD7}" dt="2026-04-02T09:38:08.029" v="183" actId="20577"/>
        <pc:sldMkLst>
          <pc:docMk/>
          <pc:sldMk cId="988993945" sldId="261"/>
        </pc:sldMkLst>
        <pc:spChg chg="mod">
          <ac:chgData name="Mahiette, Melanie (SCCO) - AFKL" userId="4dbe0de5-96e2-4b94-840e-adc5b7369414" providerId="ADAL" clId="{712047D3-337C-4224-93F9-1E85E3332BD7}" dt="2026-04-02T09:22:51.290" v="177" actId="1036"/>
          <ac:spMkLst>
            <pc:docMk/>
            <pc:sldMk cId="988993945" sldId="261"/>
            <ac:spMk id="61" creationId="{41929D7C-CFA6-BC50-D487-283CE98CBD3A}"/>
          </ac:spMkLst>
        </pc:spChg>
        <pc:spChg chg="mod">
          <ac:chgData name="Mahiette, Melanie (SCCO) - AFKL" userId="4dbe0de5-96e2-4b94-840e-adc5b7369414" providerId="ADAL" clId="{712047D3-337C-4224-93F9-1E85E3332BD7}" dt="2026-04-02T09:22:57.576" v="178" actId="1076"/>
          <ac:spMkLst>
            <pc:docMk/>
            <pc:sldMk cId="988993945" sldId="261"/>
            <ac:spMk id="62" creationId="{88B1B555-FD18-31BB-8911-B5B3C8138DC3}"/>
          </ac:spMkLst>
        </pc:spChg>
        <pc:spChg chg="mod">
          <ac:chgData name="Mahiette, Melanie (SCCO) - AFKL" userId="4dbe0de5-96e2-4b94-840e-adc5b7369414" providerId="ADAL" clId="{712047D3-337C-4224-93F9-1E85E3332BD7}" dt="2026-04-02T09:23:11.218" v="181" actId="20577"/>
          <ac:spMkLst>
            <pc:docMk/>
            <pc:sldMk cId="988993945" sldId="261"/>
            <ac:spMk id="63" creationId="{15B488C7-A156-F41E-9613-7F1BBE8E7027}"/>
          </ac:spMkLst>
        </pc:spChg>
        <pc:spChg chg="mod">
          <ac:chgData name="Mahiette, Melanie (SCCO) - AFKL" userId="4dbe0de5-96e2-4b94-840e-adc5b7369414" providerId="ADAL" clId="{712047D3-337C-4224-93F9-1E85E3332BD7}" dt="2026-04-02T09:38:08.029" v="183" actId="20577"/>
          <ac:spMkLst>
            <pc:docMk/>
            <pc:sldMk cId="988993945" sldId="261"/>
            <ac:spMk id="73" creationId="{888A8018-BCA9-3D92-DE13-0A6C8C45C0A6}"/>
          </ac:spMkLst>
        </pc:spChg>
        <pc:grpChg chg="add mod">
          <ac:chgData name="Mahiette, Melanie (SCCO) - AFKL" userId="4dbe0de5-96e2-4b94-840e-adc5b7369414" providerId="ADAL" clId="{712047D3-337C-4224-93F9-1E85E3332BD7}" dt="2026-04-02T09:22:32.857" v="173" actId="164"/>
          <ac:grpSpMkLst>
            <pc:docMk/>
            <pc:sldMk cId="988993945" sldId="261"/>
            <ac:grpSpMk id="2" creationId="{88546B4F-15C4-BF69-B0C4-671BC1DCA1F4}"/>
          </ac:grpSpMkLst>
        </pc:grpChg>
      </pc:sldChg>
      <pc:sldChg chg="modSp mod">
        <pc:chgData name="Mahiette, Melanie (SCCO) - AFKL" userId="4dbe0de5-96e2-4b94-840e-adc5b7369414" providerId="ADAL" clId="{712047D3-337C-4224-93F9-1E85E3332BD7}" dt="2026-04-09T08:30:57.554" v="258" actId="13926"/>
        <pc:sldMkLst>
          <pc:docMk/>
          <pc:sldMk cId="1941047258" sldId="265"/>
        </pc:sldMkLst>
        <pc:spChg chg="mod">
          <ac:chgData name="Mahiette, Melanie (SCCO) - AFKL" userId="4dbe0de5-96e2-4b94-840e-adc5b7369414" providerId="ADAL" clId="{712047D3-337C-4224-93F9-1E85E3332BD7}" dt="2026-04-02T09:11:10.813" v="118" actId="20577"/>
          <ac:spMkLst>
            <pc:docMk/>
            <pc:sldMk cId="1941047258" sldId="265"/>
            <ac:spMk id="4" creationId="{46108328-8139-B60E-B770-8A76F937ED3A}"/>
          </ac:spMkLst>
        </pc:spChg>
        <pc:spChg chg="mod">
          <ac:chgData name="Mahiette, Melanie (SCCO) - AFKL" userId="4dbe0de5-96e2-4b94-840e-adc5b7369414" providerId="ADAL" clId="{712047D3-337C-4224-93F9-1E85E3332BD7}" dt="2026-04-09T08:30:57.554" v="258" actId="13926"/>
          <ac:spMkLst>
            <pc:docMk/>
            <pc:sldMk cId="1941047258" sldId="265"/>
            <ac:spMk id="6" creationId="{0AAEFFBA-BEF8-A74E-3A00-0B5B0D9538ED}"/>
          </ac:spMkLst>
        </pc:spChg>
      </pc:sldChg>
      <pc:sldChg chg="addSp modSp mod">
        <pc:chgData name="Mahiette, Melanie (SCCO) - AFKL" userId="4dbe0de5-96e2-4b94-840e-adc5b7369414" providerId="ADAL" clId="{712047D3-337C-4224-93F9-1E85E3332BD7}" dt="2026-04-09T16:32:40.711" v="342" actId="1076"/>
        <pc:sldMkLst>
          <pc:docMk/>
          <pc:sldMk cId="503461411" sldId="268"/>
        </pc:sldMkLst>
        <pc:spChg chg="mod">
          <ac:chgData name="Mahiette, Melanie (SCCO) - AFKL" userId="4dbe0de5-96e2-4b94-840e-adc5b7369414" providerId="ADAL" clId="{712047D3-337C-4224-93F9-1E85E3332BD7}" dt="2026-04-09T16:28:58.059" v="284"/>
          <ac:spMkLst>
            <pc:docMk/>
            <pc:sldMk cId="503461411" sldId="268"/>
            <ac:spMk id="3" creationId="{3B8686E4-CF5F-321D-BC34-C224511A9D6F}"/>
          </ac:spMkLst>
        </pc:spChg>
        <pc:spChg chg="add mod">
          <ac:chgData name="Mahiette, Melanie (SCCO) - AFKL" userId="4dbe0de5-96e2-4b94-840e-adc5b7369414" providerId="ADAL" clId="{712047D3-337C-4224-93F9-1E85E3332BD7}" dt="2026-04-09T16:31:59.082" v="336" actId="164"/>
          <ac:spMkLst>
            <pc:docMk/>
            <pc:sldMk cId="503461411" sldId="268"/>
            <ac:spMk id="14" creationId="{0D041528-CBE0-B264-1B2F-1D1EA8BBB55D}"/>
          </ac:spMkLst>
        </pc:spChg>
        <pc:spChg chg="mod">
          <ac:chgData name="Mahiette, Melanie (SCCO) - AFKL" userId="4dbe0de5-96e2-4b94-840e-adc5b7369414" providerId="ADAL" clId="{712047D3-337C-4224-93F9-1E85E3332BD7}" dt="2026-04-09T14:20:43.742" v="276" actId="13926"/>
          <ac:spMkLst>
            <pc:docMk/>
            <pc:sldMk cId="503461411" sldId="268"/>
            <ac:spMk id="23" creationId="{3A67012B-3F15-D95F-CB87-3DB8D2198563}"/>
          </ac:spMkLst>
        </pc:spChg>
        <pc:spChg chg="mod">
          <ac:chgData name="Mahiette, Melanie (SCCO) - AFKL" userId="4dbe0de5-96e2-4b94-840e-adc5b7369414" providerId="ADAL" clId="{712047D3-337C-4224-93F9-1E85E3332BD7}" dt="2026-04-09T16:31:11.147" v="323" actId="164"/>
          <ac:spMkLst>
            <pc:docMk/>
            <pc:sldMk cId="503461411" sldId="268"/>
            <ac:spMk id="42" creationId="{DEA75C13-DF82-2EB7-7830-9DAD9FD6B473}"/>
          </ac:spMkLst>
        </pc:spChg>
        <pc:spChg chg="mod">
          <ac:chgData name="Mahiette, Melanie (SCCO) - AFKL" userId="4dbe0de5-96e2-4b94-840e-adc5b7369414" providerId="ADAL" clId="{712047D3-337C-4224-93F9-1E85E3332BD7}" dt="2026-04-09T16:31:05.609" v="322" actId="164"/>
          <ac:spMkLst>
            <pc:docMk/>
            <pc:sldMk cId="503461411" sldId="268"/>
            <ac:spMk id="44" creationId="{D926FD41-E4B1-A07B-3269-5BCB475644F5}"/>
          </ac:spMkLst>
        </pc:spChg>
        <pc:spChg chg="mod">
          <ac:chgData name="Mahiette, Melanie (SCCO) - AFKL" userId="4dbe0de5-96e2-4b94-840e-adc5b7369414" providerId="ADAL" clId="{712047D3-337C-4224-93F9-1E85E3332BD7}" dt="2026-04-09T16:31:00.600" v="321" actId="164"/>
          <ac:spMkLst>
            <pc:docMk/>
            <pc:sldMk cId="503461411" sldId="268"/>
            <ac:spMk id="46" creationId="{9BEBB245-A2D5-20BE-B3B8-477D8B41D251}"/>
          </ac:spMkLst>
        </pc:spChg>
        <pc:spChg chg="mod">
          <ac:chgData name="Mahiette, Melanie (SCCO) - AFKL" userId="4dbe0de5-96e2-4b94-840e-adc5b7369414" providerId="ADAL" clId="{712047D3-337C-4224-93F9-1E85E3332BD7}" dt="2026-04-09T16:30:57.079" v="320" actId="1076"/>
          <ac:spMkLst>
            <pc:docMk/>
            <pc:sldMk cId="503461411" sldId="268"/>
            <ac:spMk id="48" creationId="{FA41F079-6CE7-9A90-79EE-5B23B2B2FBBD}"/>
          </ac:spMkLst>
        </pc:spChg>
        <pc:spChg chg="mod">
          <ac:chgData name="Mahiette, Melanie (SCCO) - AFKL" userId="4dbe0de5-96e2-4b94-840e-adc5b7369414" providerId="ADAL" clId="{712047D3-337C-4224-93F9-1E85E3332BD7}" dt="2026-04-09T16:30:57.079" v="320" actId="1076"/>
          <ac:spMkLst>
            <pc:docMk/>
            <pc:sldMk cId="503461411" sldId="268"/>
            <ac:spMk id="49" creationId="{74864A7B-4126-7C76-D5A0-40890258F42D}"/>
          </ac:spMkLst>
        </pc:spChg>
        <pc:grpChg chg="add mod">
          <ac:chgData name="Mahiette, Melanie (SCCO) - AFKL" userId="4dbe0de5-96e2-4b94-840e-adc5b7369414" providerId="ADAL" clId="{712047D3-337C-4224-93F9-1E85E3332BD7}" dt="2026-04-09T16:32:40.711" v="342" actId="1076"/>
          <ac:grpSpMkLst>
            <pc:docMk/>
            <pc:sldMk cId="503461411" sldId="268"/>
            <ac:grpSpMk id="2" creationId="{B6E703DC-60EF-A0D7-8CAB-044EF919F642}"/>
          </ac:grpSpMkLst>
        </pc:grpChg>
        <pc:grpChg chg="add mod">
          <ac:chgData name="Mahiette, Melanie (SCCO) - AFKL" userId="4dbe0de5-96e2-4b94-840e-adc5b7369414" providerId="ADAL" clId="{712047D3-337C-4224-93F9-1E85E3332BD7}" dt="2026-04-09T16:31:00.600" v="321" actId="164"/>
          <ac:grpSpMkLst>
            <pc:docMk/>
            <pc:sldMk cId="503461411" sldId="268"/>
            <ac:grpSpMk id="8" creationId="{877A305C-7259-C487-C9B2-067B69E148BE}"/>
          </ac:grpSpMkLst>
        </pc:grpChg>
        <pc:grpChg chg="add mod">
          <ac:chgData name="Mahiette, Melanie (SCCO) - AFKL" userId="4dbe0de5-96e2-4b94-840e-adc5b7369414" providerId="ADAL" clId="{712047D3-337C-4224-93F9-1E85E3332BD7}" dt="2026-04-09T16:31:59.082" v="336" actId="164"/>
          <ac:grpSpMkLst>
            <pc:docMk/>
            <pc:sldMk cId="503461411" sldId="268"/>
            <ac:grpSpMk id="9" creationId="{3CA32161-17DB-43B9-EC2A-4CDCA5853CCB}"/>
          </ac:grpSpMkLst>
        </pc:grpChg>
        <pc:grpChg chg="add mod">
          <ac:chgData name="Mahiette, Melanie (SCCO) - AFKL" userId="4dbe0de5-96e2-4b94-840e-adc5b7369414" providerId="ADAL" clId="{712047D3-337C-4224-93F9-1E85E3332BD7}" dt="2026-04-09T16:31:14.060" v="324" actId="1076"/>
          <ac:grpSpMkLst>
            <pc:docMk/>
            <pc:sldMk cId="503461411" sldId="268"/>
            <ac:grpSpMk id="10" creationId="{E3207A48-5654-2A44-EB0A-725C67FAC788}"/>
          </ac:grpSpMkLst>
        </pc:grpChg>
        <pc:grpChg chg="add mod">
          <ac:chgData name="Mahiette, Melanie (SCCO) - AFKL" userId="4dbe0de5-96e2-4b94-840e-adc5b7369414" providerId="ADAL" clId="{712047D3-337C-4224-93F9-1E85E3332BD7}" dt="2026-04-09T16:31:59.082" v="336" actId="164"/>
          <ac:grpSpMkLst>
            <pc:docMk/>
            <pc:sldMk cId="503461411" sldId="268"/>
            <ac:grpSpMk id="15" creationId="{A92AF1C3-B328-574A-8CBA-A8AC438F2C04}"/>
          </ac:grpSpMkLst>
        </pc:grpChg>
        <pc:grpChg chg="mod">
          <ac:chgData name="Mahiette, Melanie (SCCO) - AFKL" userId="4dbe0de5-96e2-4b94-840e-adc5b7369414" providerId="ADAL" clId="{712047D3-337C-4224-93F9-1E85E3332BD7}" dt="2026-04-09T16:31:00.600" v="321" actId="164"/>
          <ac:grpSpMkLst>
            <pc:docMk/>
            <pc:sldMk cId="503461411" sldId="268"/>
            <ac:grpSpMk id="47" creationId="{B4C71C4D-6265-C2D2-33E6-7D5AE0A9BFCA}"/>
          </ac:grpSpMkLst>
        </pc:grpChg>
        <pc:graphicFrameChg chg="add mod modGraphic">
          <ac:chgData name="Mahiette, Melanie (SCCO) - AFKL" userId="4dbe0de5-96e2-4b94-840e-adc5b7369414" providerId="ADAL" clId="{712047D3-337C-4224-93F9-1E85E3332BD7}" dt="2026-04-09T16:32:19.819" v="340" actId="1076"/>
          <ac:graphicFrameMkLst>
            <pc:docMk/>
            <pc:sldMk cId="503461411" sldId="268"/>
            <ac:graphicFrameMk id="6" creationId="{32E173B1-6E0E-AAC3-C8F6-96D04FF19E64}"/>
          </ac:graphicFrameMkLst>
        </pc:graphicFrameChg>
        <pc:graphicFrameChg chg="mod modGraphic">
          <ac:chgData name="Mahiette, Melanie (SCCO) - AFKL" userId="4dbe0de5-96e2-4b94-840e-adc5b7369414" providerId="ADAL" clId="{712047D3-337C-4224-93F9-1E85E3332BD7}" dt="2026-04-09T16:31:35.262" v="330" actId="14100"/>
          <ac:graphicFrameMkLst>
            <pc:docMk/>
            <pc:sldMk cId="503461411" sldId="268"/>
            <ac:graphicFrameMk id="32" creationId="{B531624D-A4D2-CF08-1496-2DA15831AE07}"/>
          </ac:graphicFrameMkLst>
        </pc:graphicFrameChg>
        <pc:picChg chg="mod">
          <ac:chgData name="Mahiette, Melanie (SCCO) - AFKL" userId="4dbe0de5-96e2-4b94-840e-adc5b7369414" providerId="ADAL" clId="{712047D3-337C-4224-93F9-1E85E3332BD7}" dt="2026-04-09T16:28:58.059" v="284"/>
          <ac:picMkLst>
            <pc:docMk/>
            <pc:sldMk cId="503461411" sldId="268"/>
            <ac:picMk id="4" creationId="{6DA81592-73F1-451A-4793-402A83EB8515}"/>
          </ac:picMkLst>
        </pc:picChg>
        <pc:picChg chg="mod">
          <ac:chgData name="Mahiette, Melanie (SCCO) - AFKL" userId="4dbe0de5-96e2-4b94-840e-adc5b7369414" providerId="ADAL" clId="{712047D3-337C-4224-93F9-1E85E3332BD7}" dt="2026-04-09T16:31:11.147" v="323" actId="164"/>
          <ac:picMkLst>
            <pc:docMk/>
            <pc:sldMk cId="503461411" sldId="268"/>
            <ac:picMk id="43" creationId="{892A1555-16FA-7E70-8528-9FA161DCAC70}"/>
          </ac:picMkLst>
        </pc:picChg>
        <pc:picChg chg="mod">
          <ac:chgData name="Mahiette, Melanie (SCCO) - AFKL" userId="4dbe0de5-96e2-4b94-840e-adc5b7369414" providerId="ADAL" clId="{712047D3-337C-4224-93F9-1E85E3332BD7}" dt="2026-04-09T16:31:05.609" v="322" actId="164"/>
          <ac:picMkLst>
            <pc:docMk/>
            <pc:sldMk cId="503461411" sldId="268"/>
            <ac:picMk id="45" creationId="{13C59DDF-5746-0394-A0A3-13F98FB64E79}"/>
          </ac:picMkLst>
        </pc:picChg>
      </pc:sldChg>
      <pc:sldChg chg="addSp modSp mod">
        <pc:chgData name="Mahiette, Melanie (SCCO) - AFKL" userId="4dbe0de5-96e2-4b94-840e-adc5b7369414" providerId="ADAL" clId="{712047D3-337C-4224-93F9-1E85E3332BD7}" dt="2026-04-09T14:19:02.888" v="263" actId="14100"/>
        <pc:sldMkLst>
          <pc:docMk/>
          <pc:sldMk cId="1114245423" sldId="272"/>
        </pc:sldMkLst>
        <pc:spChg chg="mod">
          <ac:chgData name="Mahiette, Melanie (SCCO) - AFKL" userId="4dbe0de5-96e2-4b94-840e-adc5b7369414" providerId="ADAL" clId="{712047D3-337C-4224-93F9-1E85E3332BD7}" dt="2026-04-09T14:19:02.888" v="263" actId="14100"/>
          <ac:spMkLst>
            <pc:docMk/>
            <pc:sldMk cId="1114245423" sldId="272"/>
            <ac:spMk id="9" creationId="{2F86C5FA-0553-28DB-575B-CA7C731C77ED}"/>
          </ac:spMkLst>
        </pc:spChg>
        <pc:spChg chg="mod">
          <ac:chgData name="Mahiette, Melanie (SCCO) - AFKL" userId="4dbe0de5-96e2-4b94-840e-adc5b7369414" providerId="ADAL" clId="{712047D3-337C-4224-93F9-1E85E3332BD7}" dt="2026-04-02T08:44:30.341" v="63" actId="14100"/>
          <ac:spMkLst>
            <pc:docMk/>
            <pc:sldMk cId="1114245423" sldId="272"/>
            <ac:spMk id="15" creationId="{442D75F1-BDA8-743A-3AD4-A52DD30486FE}"/>
          </ac:spMkLst>
        </pc:spChg>
        <pc:spChg chg="mod">
          <ac:chgData name="Mahiette, Melanie (SCCO) - AFKL" userId="4dbe0de5-96e2-4b94-840e-adc5b7369414" providerId="ADAL" clId="{712047D3-337C-4224-93F9-1E85E3332BD7}" dt="2026-04-02T08:44:42.859" v="66" actId="14100"/>
          <ac:spMkLst>
            <pc:docMk/>
            <pc:sldMk cId="1114245423" sldId="272"/>
            <ac:spMk id="69" creationId="{1BBA7BC6-8095-604E-F853-485D4A035707}"/>
          </ac:spMkLst>
        </pc:spChg>
        <pc:spChg chg="mod">
          <ac:chgData name="Mahiette, Melanie (SCCO) - AFKL" userId="4dbe0de5-96e2-4b94-840e-adc5b7369414" providerId="ADAL" clId="{712047D3-337C-4224-93F9-1E85E3332BD7}" dt="2026-04-02T08:44:45.890" v="67" actId="14100"/>
          <ac:spMkLst>
            <pc:docMk/>
            <pc:sldMk cId="1114245423" sldId="272"/>
            <ac:spMk id="70" creationId="{9ACC7C3B-9AAE-C9FD-EB9B-F45DE82ACAA0}"/>
          </ac:spMkLst>
        </pc:spChg>
        <pc:spChg chg="mod">
          <ac:chgData name="Mahiette, Melanie (SCCO) - AFKL" userId="4dbe0de5-96e2-4b94-840e-adc5b7369414" providerId="ADAL" clId="{712047D3-337C-4224-93F9-1E85E3332BD7}" dt="2026-04-02T08:44:39.620" v="65" actId="14100"/>
          <ac:spMkLst>
            <pc:docMk/>
            <pc:sldMk cId="1114245423" sldId="272"/>
            <ac:spMk id="75" creationId="{F12353E6-F790-35EC-71EE-397C6EBCB751}"/>
          </ac:spMkLst>
        </pc:spChg>
        <pc:spChg chg="mod">
          <ac:chgData name="Mahiette, Melanie (SCCO) - AFKL" userId="4dbe0de5-96e2-4b94-840e-adc5b7369414" providerId="ADAL" clId="{712047D3-337C-4224-93F9-1E85E3332BD7}" dt="2026-04-02T08:44:37.405" v="64" actId="14100"/>
          <ac:spMkLst>
            <pc:docMk/>
            <pc:sldMk cId="1114245423" sldId="272"/>
            <ac:spMk id="76" creationId="{0AB65CD6-78FB-9F95-C99F-984DF881BF31}"/>
          </ac:spMkLst>
        </pc:spChg>
        <pc:spChg chg="mod">
          <ac:chgData name="Mahiette, Melanie (SCCO) - AFKL" userId="4dbe0de5-96e2-4b94-840e-adc5b7369414" providerId="ADAL" clId="{712047D3-337C-4224-93F9-1E85E3332BD7}" dt="2026-04-02T08:44:52.468" v="68" actId="14100"/>
          <ac:spMkLst>
            <pc:docMk/>
            <pc:sldMk cId="1114245423" sldId="272"/>
            <ac:spMk id="78" creationId="{4BF376D2-D13D-25B1-310A-A564F10B665E}"/>
          </ac:spMkLst>
        </pc:spChg>
        <pc:grpChg chg="mod">
          <ac:chgData name="Mahiette, Melanie (SCCO) - AFKL" userId="4dbe0de5-96e2-4b94-840e-adc5b7369414" providerId="ADAL" clId="{712047D3-337C-4224-93F9-1E85E3332BD7}" dt="2026-04-02T08:44:10.723" v="56" actId="1076"/>
          <ac:grpSpMkLst>
            <pc:docMk/>
            <pc:sldMk cId="1114245423" sldId="272"/>
            <ac:grpSpMk id="4" creationId="{935F642E-DDDA-F768-373D-1BD7CC899540}"/>
          </ac:grpSpMkLst>
        </pc:grpChg>
        <pc:grpChg chg="mod">
          <ac:chgData name="Mahiette, Melanie (SCCO) - AFKL" userId="4dbe0de5-96e2-4b94-840e-adc5b7369414" providerId="ADAL" clId="{712047D3-337C-4224-93F9-1E85E3332BD7}" dt="2026-04-02T08:44:10.723" v="56" actId="1076"/>
          <ac:grpSpMkLst>
            <pc:docMk/>
            <pc:sldMk cId="1114245423" sldId="272"/>
            <ac:grpSpMk id="5" creationId="{2C229316-3BA1-6BFC-7995-9DD19A3D6009}"/>
          </ac:grpSpMkLst>
        </pc:grpChg>
        <pc:grpChg chg="add mod">
          <ac:chgData name="Mahiette, Melanie (SCCO) - AFKL" userId="4dbe0de5-96e2-4b94-840e-adc5b7369414" providerId="ADAL" clId="{712047D3-337C-4224-93F9-1E85E3332BD7}" dt="2026-04-02T08:44:23.415" v="62" actId="1076"/>
          <ac:grpSpMkLst>
            <pc:docMk/>
            <pc:sldMk cId="1114245423" sldId="272"/>
            <ac:grpSpMk id="6" creationId="{0A863A79-E27C-423F-50D2-36470ADF885D}"/>
          </ac:grpSpMkLst>
        </pc:grpChg>
        <pc:grpChg chg="mod">
          <ac:chgData name="Mahiette, Melanie (SCCO) - AFKL" userId="4dbe0de5-96e2-4b94-840e-adc5b7369414" providerId="ADAL" clId="{712047D3-337C-4224-93F9-1E85E3332BD7}" dt="2026-04-02T08:44:10.723" v="56" actId="1076"/>
          <ac:grpSpMkLst>
            <pc:docMk/>
            <pc:sldMk cId="1114245423" sldId="272"/>
            <ac:grpSpMk id="11" creationId="{01BB9823-8EF4-95E3-2C4B-93E45C6CFFE1}"/>
          </ac:grpSpMkLst>
        </pc:grpChg>
        <pc:grpChg chg="mod">
          <ac:chgData name="Mahiette, Melanie (SCCO) - AFKL" userId="4dbe0de5-96e2-4b94-840e-adc5b7369414" providerId="ADAL" clId="{712047D3-337C-4224-93F9-1E85E3332BD7}" dt="2026-04-02T08:44:10.723" v="56" actId="1076"/>
          <ac:grpSpMkLst>
            <pc:docMk/>
            <pc:sldMk cId="1114245423" sldId="272"/>
            <ac:grpSpMk id="12" creationId="{5FC12304-0BDF-EC4A-FD10-8EAEE41C57CA}"/>
          </ac:grpSpMkLst>
        </pc:grpChg>
        <pc:grpChg chg="mod">
          <ac:chgData name="Mahiette, Melanie (SCCO) - AFKL" userId="4dbe0de5-96e2-4b94-840e-adc5b7369414" providerId="ADAL" clId="{712047D3-337C-4224-93F9-1E85E3332BD7}" dt="2026-04-02T08:44:10.723" v="56" actId="1076"/>
          <ac:grpSpMkLst>
            <pc:docMk/>
            <pc:sldMk cId="1114245423" sldId="272"/>
            <ac:grpSpMk id="13" creationId="{E7BEEE5D-D1C4-83A4-C46B-9AE2A6ADC7D0}"/>
          </ac:grpSpMkLst>
        </pc:grpChg>
        <pc:grpChg chg="mod">
          <ac:chgData name="Mahiette, Melanie (SCCO) - AFKL" userId="4dbe0de5-96e2-4b94-840e-adc5b7369414" providerId="ADAL" clId="{712047D3-337C-4224-93F9-1E85E3332BD7}" dt="2026-04-02T08:44:10.723" v="56" actId="1076"/>
          <ac:grpSpMkLst>
            <pc:docMk/>
            <pc:sldMk cId="1114245423" sldId="272"/>
            <ac:grpSpMk id="14" creationId="{0D489B7C-2614-8BB7-0404-1E8709326937}"/>
          </ac:grpSpMkLst>
        </pc:grpChg>
        <pc:grpChg chg="mod">
          <ac:chgData name="Mahiette, Melanie (SCCO) - AFKL" userId="4dbe0de5-96e2-4b94-840e-adc5b7369414" providerId="ADAL" clId="{712047D3-337C-4224-93F9-1E85E3332BD7}" dt="2026-04-02T08:44:10.723" v="56" actId="1076"/>
          <ac:grpSpMkLst>
            <pc:docMk/>
            <pc:sldMk cId="1114245423" sldId="272"/>
            <ac:grpSpMk id="16" creationId="{1ED95D88-09CB-49DC-AB89-13C9BAC5B5C1}"/>
          </ac:grpSpMkLst>
        </pc:grpChg>
        <pc:grpChg chg="mod">
          <ac:chgData name="Mahiette, Melanie (SCCO) - AFKL" userId="4dbe0de5-96e2-4b94-840e-adc5b7369414" providerId="ADAL" clId="{712047D3-337C-4224-93F9-1E85E3332BD7}" dt="2026-04-02T08:44:10.723" v="56" actId="1076"/>
          <ac:grpSpMkLst>
            <pc:docMk/>
            <pc:sldMk cId="1114245423" sldId="272"/>
            <ac:grpSpMk id="19" creationId="{D30B7917-2DB5-ECE6-1DA7-76AFF248435A}"/>
          </ac:grpSpMkLst>
        </pc:grpChg>
        <pc:picChg chg="mod">
          <ac:chgData name="Mahiette, Melanie (SCCO) - AFKL" userId="4dbe0de5-96e2-4b94-840e-adc5b7369414" providerId="ADAL" clId="{712047D3-337C-4224-93F9-1E85E3332BD7}" dt="2026-04-02T08:44:10.723" v="56" actId="1076"/>
          <ac:picMkLst>
            <pc:docMk/>
            <pc:sldMk cId="1114245423" sldId="272"/>
            <ac:picMk id="10" creationId="{59EBFCC2-08D2-DDE2-E765-BCB264AFC1C7}"/>
          </ac:picMkLst>
        </pc:picChg>
        <pc:picChg chg="mod">
          <ac:chgData name="Mahiette, Melanie (SCCO) - AFKL" userId="4dbe0de5-96e2-4b94-840e-adc5b7369414" providerId="ADAL" clId="{712047D3-337C-4224-93F9-1E85E3332BD7}" dt="2026-04-02T08:43:35.380" v="54" actId="1076"/>
          <ac:picMkLst>
            <pc:docMk/>
            <pc:sldMk cId="1114245423" sldId="272"/>
            <ac:picMk id="20" creationId="{16750855-5B8F-DA06-0738-7EAEC5B9CD4C}"/>
          </ac:picMkLst>
        </pc:picChg>
      </pc:sldChg>
      <pc:sldChg chg="del mod modShow">
        <pc:chgData name="Mahiette, Melanie (SCCO) - AFKL" userId="4dbe0de5-96e2-4b94-840e-adc5b7369414" providerId="ADAL" clId="{712047D3-337C-4224-93F9-1E85E3332BD7}" dt="2026-04-09T16:02:20.672" v="277" actId="2696"/>
        <pc:sldMkLst>
          <pc:docMk/>
          <pc:sldMk cId="518129912" sldId="338"/>
        </pc:sldMkLst>
      </pc:sldChg>
      <pc:sldChg chg="del mod modShow">
        <pc:chgData name="Mahiette, Melanie (SCCO) - AFKL" userId="4dbe0de5-96e2-4b94-840e-adc5b7369414" providerId="ADAL" clId="{712047D3-337C-4224-93F9-1E85E3332BD7}" dt="2026-04-09T16:33:20.436" v="343" actId="2696"/>
        <pc:sldMkLst>
          <pc:docMk/>
          <pc:sldMk cId="886033777" sldId="343"/>
        </pc:sldMkLst>
      </pc:sldChg>
      <pc:sldChg chg="modSp mod">
        <pc:chgData name="Mahiette, Melanie (SCCO) - AFKL" userId="4dbe0de5-96e2-4b94-840e-adc5b7369414" providerId="ADAL" clId="{712047D3-337C-4224-93F9-1E85E3332BD7}" dt="2026-04-02T09:05:47.055" v="79" actId="20577"/>
        <pc:sldMkLst>
          <pc:docMk/>
          <pc:sldMk cId="1697628752" sldId="2147483603"/>
        </pc:sldMkLst>
        <pc:spChg chg="mod">
          <ac:chgData name="Mahiette, Melanie (SCCO) - AFKL" userId="4dbe0de5-96e2-4b94-840e-adc5b7369414" providerId="ADAL" clId="{712047D3-337C-4224-93F9-1E85E3332BD7}" dt="2026-04-02T09:05:47.055" v="79" actId="20577"/>
          <ac:spMkLst>
            <pc:docMk/>
            <pc:sldMk cId="1697628752" sldId="2147483603"/>
            <ac:spMk id="31" creationId="{2BEC2439-9A1A-467B-874A-DE238F6FFE3D}"/>
          </ac:spMkLst>
        </pc:spChg>
      </pc:sldChg>
      <pc:sldChg chg="addSp delSp modSp mod">
        <pc:chgData name="Mahiette, Melanie (SCCO) - AFKL" userId="4dbe0de5-96e2-4b94-840e-adc5b7369414" providerId="ADAL" clId="{712047D3-337C-4224-93F9-1E85E3332BD7}" dt="2026-04-09T14:19:24.799" v="264" actId="14100"/>
        <pc:sldMkLst>
          <pc:docMk/>
          <pc:sldMk cId="593614015" sldId="2147483622"/>
        </pc:sldMkLst>
        <pc:spChg chg="add mod">
          <ac:chgData name="Mahiette, Melanie (SCCO) - AFKL" userId="4dbe0de5-96e2-4b94-840e-adc5b7369414" providerId="ADAL" clId="{712047D3-337C-4224-93F9-1E85E3332BD7}" dt="2026-04-02T09:09:14.419" v="101" actId="1076"/>
          <ac:spMkLst>
            <pc:docMk/>
            <pc:sldMk cId="593614015" sldId="2147483622"/>
            <ac:spMk id="17" creationId="{9C6D39C0-EB05-199D-FF41-0F3FC6A0F1F6}"/>
          </ac:spMkLst>
        </pc:spChg>
        <pc:spChg chg="add mod">
          <ac:chgData name="Mahiette, Melanie (SCCO) - AFKL" userId="4dbe0de5-96e2-4b94-840e-adc5b7369414" providerId="ADAL" clId="{712047D3-337C-4224-93F9-1E85E3332BD7}" dt="2026-04-02T09:10:18.218" v="116" actId="1076"/>
          <ac:spMkLst>
            <pc:docMk/>
            <pc:sldMk cId="593614015" sldId="2147483622"/>
            <ac:spMk id="27" creationId="{2B147A63-2EBD-4D51-DDD2-9B7C68C481EB}"/>
          </ac:spMkLst>
        </pc:spChg>
        <pc:picChg chg="add mod">
          <ac:chgData name="Mahiette, Melanie (SCCO) - AFKL" userId="4dbe0de5-96e2-4b94-840e-adc5b7369414" providerId="ADAL" clId="{712047D3-337C-4224-93F9-1E85E3332BD7}" dt="2026-04-09T14:19:24.799" v="264" actId="14100"/>
          <ac:picMkLst>
            <pc:docMk/>
            <pc:sldMk cId="593614015" sldId="2147483622"/>
            <ac:picMk id="19" creationId="{FEEBD586-6C86-ED72-0FB1-834E15B85D44}"/>
          </ac:picMkLst>
        </pc:picChg>
        <pc:picChg chg="add mod">
          <ac:chgData name="Mahiette, Melanie (SCCO) - AFKL" userId="4dbe0de5-96e2-4b94-840e-adc5b7369414" providerId="ADAL" clId="{712047D3-337C-4224-93F9-1E85E3332BD7}" dt="2026-04-02T09:09:58.571" v="112" actId="14100"/>
          <ac:picMkLst>
            <pc:docMk/>
            <pc:sldMk cId="593614015" sldId="2147483622"/>
            <ac:picMk id="22" creationId="{2A038526-C797-0814-A59F-1EF586DB25FA}"/>
          </ac:picMkLst>
        </pc:picChg>
        <pc:picChg chg="add mod">
          <ac:chgData name="Mahiette, Melanie (SCCO) - AFKL" userId="4dbe0de5-96e2-4b94-840e-adc5b7369414" providerId="ADAL" clId="{712047D3-337C-4224-93F9-1E85E3332BD7}" dt="2026-04-02T09:10:07.330" v="114" actId="1076"/>
          <ac:picMkLst>
            <pc:docMk/>
            <pc:sldMk cId="593614015" sldId="2147483622"/>
            <ac:picMk id="23" creationId="{EA4498DF-0DCC-C118-EDF6-176528175B1A}"/>
          </ac:picMkLst>
        </pc:picChg>
      </pc:sldChg>
      <pc:sldChg chg="modSp mod">
        <pc:chgData name="Mahiette, Melanie (SCCO) - AFKL" userId="4dbe0de5-96e2-4b94-840e-adc5b7369414" providerId="ADAL" clId="{712047D3-337C-4224-93F9-1E85E3332BD7}" dt="2026-04-03T08:41:23.214" v="255" actId="13926"/>
        <pc:sldMkLst>
          <pc:docMk/>
          <pc:sldMk cId="2971662971" sldId="2147483629"/>
        </pc:sldMkLst>
        <pc:spChg chg="mod">
          <ac:chgData name="Mahiette, Melanie (SCCO) - AFKL" userId="4dbe0de5-96e2-4b94-840e-adc5b7369414" providerId="ADAL" clId="{712047D3-337C-4224-93F9-1E85E3332BD7}" dt="2026-04-03T08:32:10.454" v="245" actId="20577"/>
          <ac:spMkLst>
            <pc:docMk/>
            <pc:sldMk cId="2971662971" sldId="2147483629"/>
            <ac:spMk id="3" creationId="{89F83E53-591D-BA12-4F4C-ED2080A5CCDF}"/>
          </ac:spMkLst>
        </pc:spChg>
        <pc:spChg chg="mod">
          <ac:chgData name="Mahiette, Melanie (SCCO) - AFKL" userId="4dbe0de5-96e2-4b94-840e-adc5b7369414" providerId="ADAL" clId="{712047D3-337C-4224-93F9-1E85E3332BD7}" dt="2026-04-03T08:41:23.214" v="255" actId="13926"/>
          <ac:spMkLst>
            <pc:docMk/>
            <pc:sldMk cId="2971662971" sldId="2147483629"/>
            <ac:spMk id="7" creationId="{D5B6F65D-A745-4B65-523F-97FEAADB019D}"/>
          </ac:spMkLst>
        </pc:spChg>
        <pc:spChg chg="mod">
          <ac:chgData name="Mahiette, Melanie (SCCO) - AFKL" userId="4dbe0de5-96e2-4b94-840e-adc5b7369414" providerId="ADAL" clId="{712047D3-337C-4224-93F9-1E85E3332BD7}" dt="2026-04-03T08:32:15.775" v="247" actId="20577"/>
          <ac:spMkLst>
            <pc:docMk/>
            <pc:sldMk cId="2971662971" sldId="2147483629"/>
            <ac:spMk id="8" creationId="{9F912B1D-0DF2-47AE-0A2E-855D59D7B8B1}"/>
          </ac:spMkLst>
        </pc:spChg>
        <pc:spChg chg="mod">
          <ac:chgData name="Mahiette, Melanie (SCCO) - AFKL" userId="4dbe0de5-96e2-4b94-840e-adc5b7369414" providerId="ADAL" clId="{712047D3-337C-4224-93F9-1E85E3332BD7}" dt="2026-04-02T09:18:39.945" v="134" actId="20577"/>
          <ac:spMkLst>
            <pc:docMk/>
            <pc:sldMk cId="2971662971" sldId="2147483629"/>
            <ac:spMk id="18" creationId="{96E4DB1F-24EC-62DC-B44D-0B7F7EE71636}"/>
          </ac:spMkLst>
        </pc:spChg>
        <pc:spChg chg="mod">
          <ac:chgData name="Mahiette, Melanie (SCCO) - AFKL" userId="4dbe0de5-96e2-4b94-840e-adc5b7369414" providerId="ADAL" clId="{712047D3-337C-4224-93F9-1E85E3332BD7}" dt="2026-04-02T09:18:33.774" v="132" actId="20577"/>
          <ac:spMkLst>
            <pc:docMk/>
            <pc:sldMk cId="2971662971" sldId="2147483629"/>
            <ac:spMk id="20" creationId="{F324F7B4-DE25-361C-6B27-EB7DD6F34F5F}"/>
          </ac:spMkLst>
        </pc:spChg>
      </pc:sldChg>
      <pc:sldChg chg="delSp modSp mod">
        <pc:chgData name="Mahiette, Melanie (SCCO) - AFKL" userId="4dbe0de5-96e2-4b94-840e-adc5b7369414" providerId="ADAL" clId="{712047D3-337C-4224-93F9-1E85E3332BD7}" dt="2026-04-09T16:37:06.197" v="345" actId="20577"/>
        <pc:sldMkLst>
          <pc:docMk/>
          <pc:sldMk cId="101360552" sldId="2147483632"/>
        </pc:sldMkLst>
        <pc:spChg chg="mod">
          <ac:chgData name="Mahiette, Melanie (SCCO) - AFKL" userId="4dbe0de5-96e2-4b94-840e-adc5b7369414" providerId="ADAL" clId="{712047D3-337C-4224-93F9-1E85E3332BD7}" dt="2026-04-09T16:37:06.197" v="345" actId="20577"/>
          <ac:spMkLst>
            <pc:docMk/>
            <pc:sldMk cId="101360552" sldId="2147483632"/>
            <ac:spMk id="3" creationId="{89F83E53-591D-BA12-4F4C-ED2080A5CCDF}"/>
          </ac:spMkLst>
        </pc:spChg>
        <pc:spChg chg="del">
          <ac:chgData name="Mahiette, Melanie (SCCO) - AFKL" userId="4dbe0de5-96e2-4b94-840e-adc5b7369414" providerId="ADAL" clId="{712047D3-337C-4224-93F9-1E85E3332BD7}" dt="2026-04-09T10:48:14.282" v="259" actId="478"/>
          <ac:spMkLst>
            <pc:docMk/>
            <pc:sldMk cId="101360552" sldId="2147483632"/>
            <ac:spMk id="7" creationId="{D5B6F65D-A745-4B65-523F-97FEAADB019D}"/>
          </ac:spMkLst>
        </pc:spChg>
        <pc:spChg chg="mod">
          <ac:chgData name="Mahiette, Melanie (SCCO) - AFKL" userId="4dbe0de5-96e2-4b94-840e-adc5b7369414" providerId="ADAL" clId="{712047D3-337C-4224-93F9-1E85E3332BD7}" dt="2026-04-09T10:48:22.067" v="260" actId="1076"/>
          <ac:spMkLst>
            <pc:docMk/>
            <pc:sldMk cId="101360552" sldId="2147483632"/>
            <ac:spMk id="8" creationId="{9F912B1D-0DF2-47AE-0A2E-855D59D7B8B1}"/>
          </ac:spMkLst>
        </pc:spChg>
        <pc:spChg chg="del">
          <ac:chgData name="Mahiette, Melanie (SCCO) - AFKL" userId="4dbe0de5-96e2-4b94-840e-adc5b7369414" providerId="ADAL" clId="{712047D3-337C-4224-93F9-1E85E3332BD7}" dt="2026-04-09T10:48:14.282" v="259" actId="478"/>
          <ac:spMkLst>
            <pc:docMk/>
            <pc:sldMk cId="101360552" sldId="2147483632"/>
            <ac:spMk id="11" creationId="{6ABF52BD-F5AD-2541-2285-2AE3E83BD23B}"/>
          </ac:spMkLst>
        </pc:spChg>
        <pc:spChg chg="mod">
          <ac:chgData name="Mahiette, Melanie (SCCO) - AFKL" userId="4dbe0de5-96e2-4b94-840e-adc5b7369414" providerId="ADAL" clId="{712047D3-337C-4224-93F9-1E85E3332BD7}" dt="2026-04-09T10:48:22.067" v="260" actId="1076"/>
          <ac:spMkLst>
            <pc:docMk/>
            <pc:sldMk cId="101360552" sldId="2147483632"/>
            <ac:spMk id="12" creationId="{93B7EC9E-2B4F-A6FD-9564-5E5C0A101B69}"/>
          </ac:spMkLst>
        </pc:spChg>
        <pc:spChg chg="mod">
          <ac:chgData name="Mahiette, Melanie (SCCO) - AFKL" userId="4dbe0de5-96e2-4b94-840e-adc5b7369414" providerId="ADAL" clId="{712047D3-337C-4224-93F9-1E85E3332BD7}" dt="2026-04-09T10:48:22.067" v="260" actId="1076"/>
          <ac:spMkLst>
            <pc:docMk/>
            <pc:sldMk cId="101360552" sldId="2147483632"/>
            <ac:spMk id="18" creationId="{96E4DB1F-24EC-62DC-B44D-0B7F7EE71636}"/>
          </ac:spMkLst>
        </pc:spChg>
        <pc:spChg chg="mod">
          <ac:chgData name="Mahiette, Melanie (SCCO) - AFKL" userId="4dbe0de5-96e2-4b94-840e-adc5b7369414" providerId="ADAL" clId="{712047D3-337C-4224-93F9-1E85E3332BD7}" dt="2026-04-09T10:48:22.067" v="260" actId="1076"/>
          <ac:spMkLst>
            <pc:docMk/>
            <pc:sldMk cId="101360552" sldId="2147483632"/>
            <ac:spMk id="20" creationId="{F324F7B4-DE25-361C-6B27-EB7DD6F34F5F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Feuil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2</c:v>
                </c:pt>
                <c:pt idx="2">
                  <c:v>2024</c:v>
                </c:pt>
                <c:pt idx="3">
                  <c:v>2026</c:v>
                </c:pt>
              </c:numCache>
            </c:numRef>
          </c:cat>
          <c:val>
            <c:numRef>
              <c:f>Feuil1!$B$2:$B$5</c:f>
              <c:numCache>
                <c:formatCode>General</c:formatCode>
                <c:ptCount val="4"/>
                <c:pt idx="0">
                  <c:v>0</c:v>
                </c:pt>
                <c:pt idx="1">
                  <c:v>2.1</c:v>
                </c:pt>
                <c:pt idx="2">
                  <c:v>2.9</c:v>
                </c:pt>
                <c:pt idx="3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28-45D5-9E7D-F8C254FCEAD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649934255"/>
        <c:axId val="633841663"/>
      </c:barChart>
      <c:catAx>
        <c:axId val="6499342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33841663"/>
        <c:crosses val="autoZero"/>
        <c:auto val="1"/>
        <c:lblAlgn val="ctr"/>
        <c:lblOffset val="100"/>
        <c:noMultiLvlLbl val="0"/>
      </c:catAx>
      <c:valAx>
        <c:axId val="6338416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499342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956916099773243E-2"/>
          <c:y val="1.9817073170731708E-2"/>
          <c:w val="0.88208616780045357"/>
          <c:h val="0.9603658536585365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7A1D9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CF-4971-B686-AE616C4AE4A1}"/>
            </c:ext>
          </c:extLst>
        </c:ser>
        <c:ser>
          <c:idx val="1"/>
          <c:order val="1"/>
          <c:spPr>
            <a:solidFill>
              <a:srgbClr val="81C645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CF-4971-B686-AE616C4AE4A1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CF-4971-B686-AE616C4AE4A1}"/>
            </c:ext>
          </c:extLst>
        </c:ser>
        <c:ser>
          <c:idx val="3"/>
          <c:order val="3"/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38-4624-BB01-53238AA4B1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82670783"/>
        <c:axId val="1"/>
      </c:barChart>
      <c:catAx>
        <c:axId val="1182670783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826707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/>
              <a:t>SAF / </a:t>
            </a:r>
            <a:r>
              <a:rPr lang="en-US" sz="1400" b="1" err="1"/>
              <a:t>eSAF</a:t>
            </a:r>
            <a:r>
              <a:rPr lang="en-US" sz="1400" b="1"/>
              <a:t> incorporation trajectory set by the European </a:t>
            </a:r>
            <a:r>
              <a:rPr lang="en-US" sz="1400" b="1" err="1"/>
              <a:t>RefuelEU</a:t>
            </a:r>
            <a:r>
              <a:rPr lang="en-US" sz="1400" b="1"/>
              <a:t> regulation (flights departing from Europe)</a:t>
            </a:r>
            <a:endParaRPr lang="en-US" sz="1400" b="1" baseline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eSAF</c:v>
                </c:pt>
              </c:strCache>
            </c:strRef>
          </c:tx>
          <c:spPr>
            <a:pattFill prst="dkUpDiag">
              <a:fgClr>
                <a:schemeClr val="accent1"/>
              </a:fgClr>
              <a:bgClr>
                <a:srgbClr val="DEE5EB"/>
              </a:bgClr>
            </a:pattFill>
            <a:ln>
              <a:noFill/>
            </a:ln>
            <a:effectLst/>
          </c:spPr>
          <c:invertIfNegative val="0"/>
          <c:cat>
            <c:numRef>
              <c:f>Feuil1!$A$2:$A$4</c:f>
              <c:numCache>
                <c:formatCode>General</c:formatCode>
                <c:ptCount val="3"/>
                <c:pt idx="0">
                  <c:v>2030</c:v>
                </c:pt>
                <c:pt idx="1">
                  <c:v>2035</c:v>
                </c:pt>
                <c:pt idx="2">
                  <c:v>2050</c:v>
                </c:pt>
              </c:numCache>
            </c:numRef>
          </c:cat>
          <c:val>
            <c:numRef>
              <c:f>Feuil1!$B$2:$B$4</c:f>
              <c:numCache>
                <c:formatCode>0%</c:formatCode>
                <c:ptCount val="3"/>
                <c:pt idx="0" formatCode="0.0%">
                  <c:v>7.0000000000000001E-3</c:v>
                </c:pt>
                <c:pt idx="1">
                  <c:v>0.05</c:v>
                </c:pt>
                <c:pt idx="2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17-4CDB-B249-ABDF21170FEB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AF</c:v>
                </c:pt>
              </c:strCache>
            </c:strRef>
          </c:tx>
          <c:spPr>
            <a:solidFill>
              <a:srgbClr val="0800B9"/>
            </a:solidFill>
            <a:ln>
              <a:noFill/>
            </a:ln>
            <a:effectLst/>
          </c:spPr>
          <c:invertIfNegative val="0"/>
          <c:cat>
            <c:numRef>
              <c:f>Feuil1!$A$2:$A$4</c:f>
              <c:numCache>
                <c:formatCode>General</c:formatCode>
                <c:ptCount val="3"/>
                <c:pt idx="0">
                  <c:v>2030</c:v>
                </c:pt>
                <c:pt idx="1">
                  <c:v>2035</c:v>
                </c:pt>
                <c:pt idx="2">
                  <c:v>2050</c:v>
                </c:pt>
              </c:numCache>
            </c:numRef>
          </c:cat>
          <c:val>
            <c:numRef>
              <c:f>Feuil1!$C$2:$C$4</c:f>
              <c:numCache>
                <c:formatCode>0%</c:formatCode>
                <c:ptCount val="3"/>
                <c:pt idx="0" formatCode="0.00%">
                  <c:v>5.2999999999999999E-2</c:v>
                </c:pt>
                <c:pt idx="1">
                  <c:v>0.15</c:v>
                </c:pt>
                <c:pt idx="2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17-4CDB-B249-ABDF21170F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98341855"/>
        <c:axId val="1198337535"/>
      </c:barChart>
      <c:catAx>
        <c:axId val="11983418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98337535"/>
        <c:crosses val="autoZero"/>
        <c:auto val="1"/>
        <c:lblAlgn val="ctr"/>
        <c:lblOffset val="100"/>
        <c:noMultiLvlLbl val="0"/>
      </c:catAx>
      <c:valAx>
        <c:axId val="11983375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DEE5EB"/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983418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51163" cy="498852"/>
          </a:xfrm>
          <a:prstGeom prst="rect">
            <a:avLst/>
          </a:prstGeom>
        </p:spPr>
        <p:txBody>
          <a:bodyPr vert="horz" lIns="87316" tIns="43658" rIns="87316" bIns="43658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7638" y="1"/>
            <a:ext cx="2951163" cy="498852"/>
          </a:xfrm>
          <a:prstGeom prst="rect">
            <a:avLst/>
          </a:prstGeom>
        </p:spPr>
        <p:txBody>
          <a:bodyPr vert="horz" lIns="87316" tIns="43658" rIns="87316" bIns="43658" rtlCol="0"/>
          <a:lstStyle>
            <a:lvl1pPr algn="r">
              <a:defRPr sz="1100"/>
            </a:lvl1pPr>
          </a:lstStyle>
          <a:p>
            <a:fld id="{F4DFA5C1-96E5-42BE-A94C-D395CA740BE8}" type="datetimeFigureOut">
              <a:rPr lang="en-US" smtClean="0"/>
              <a:t>4/9/2026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9000" cy="3357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316" tIns="43658" rIns="87316" bIns="43658" rtlCol="0" anchor="ctr"/>
          <a:lstStyle/>
          <a:p>
            <a:endParaRPr lang="en-US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1038" y="4784836"/>
            <a:ext cx="5448300" cy="3914864"/>
          </a:xfrm>
          <a:prstGeom prst="rect">
            <a:avLst/>
          </a:prstGeom>
        </p:spPr>
        <p:txBody>
          <a:bodyPr vert="horz" lIns="87316" tIns="43658" rIns="87316" bIns="43658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9443662"/>
            <a:ext cx="2951163" cy="498851"/>
          </a:xfrm>
          <a:prstGeom prst="rect">
            <a:avLst/>
          </a:prstGeom>
        </p:spPr>
        <p:txBody>
          <a:bodyPr vert="horz" lIns="87316" tIns="43658" rIns="87316" bIns="43658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7638" y="9443662"/>
            <a:ext cx="2951163" cy="498851"/>
          </a:xfrm>
          <a:prstGeom prst="rect">
            <a:avLst/>
          </a:prstGeom>
        </p:spPr>
        <p:txBody>
          <a:bodyPr vert="horz" lIns="87316" tIns="43658" rIns="87316" bIns="43658" rtlCol="0" anchor="b"/>
          <a:lstStyle>
            <a:lvl1pPr algn="r">
              <a:defRPr sz="1100"/>
            </a:lvl1pPr>
          </a:lstStyle>
          <a:p>
            <a:fld id="{963FF383-8535-4191-A797-0DA93A71F24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5719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262C5E-7016-49C6-A932-0199A8D046B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50792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15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75738A-A2E4-40E9-881A-B1B9736C68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03468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85800" lvl="1" indent="-228600">
              <a:buAutoNum type="arabicPeriod"/>
            </a:pPr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75738A-A2E4-40E9-881A-B1B9736C68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97099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262C5E-7016-49C6-A932-0199A8D046B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55168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0" lang="fr-FR" sz="2400" i="0" u="none" strike="noStrike" kern="1200" cap="none" spc="0" normalizeH="0" baseline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262C5E-7016-49C6-A932-0199A8D046B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00177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US"/>
              <a:t>Fleet strategy is a key component of our Group’s financial and environmental roadmap: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1" u="sng"/>
              <a:t>Finance:</a:t>
            </a:r>
            <a:r>
              <a:rPr lang="en-US"/>
              <a:t> Lower consumption and younger fleet improves profitability by reducing fuel and MRO costs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1" u="sng"/>
              <a:t>Environment:</a:t>
            </a:r>
            <a:r>
              <a:rPr lang="en-US"/>
              <a:t> Substantial CO2 and noise emissions reduction with new generation fleet</a:t>
            </a:r>
          </a:p>
          <a:p>
            <a:pPr marL="228600" lvl="0" indent="-228600">
              <a:buFont typeface="+mj-lt"/>
              <a:buAutoNum type="arabicPeriod"/>
            </a:pPr>
            <a:r>
              <a:rPr lang="en-US" sz="1200" kern="1200">
                <a:solidFill>
                  <a:schemeClr val="tx1"/>
                </a:solidFill>
                <a:ea typeface="+mn-ea"/>
                <a:cs typeface="+mn-cs"/>
              </a:rPr>
              <a:t>Fleet renewal is in line with our network strategy: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sz="1200" kern="1200">
                <a:solidFill>
                  <a:schemeClr val="tx1"/>
                </a:solidFill>
                <a:ea typeface="+mn-ea"/>
                <a:cs typeface="+mn-cs"/>
              </a:rPr>
              <a:t>A220: Air France medium-haul flexibility and hub feeding rol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75738A-A2E4-40E9-881A-B1B9736C68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38521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75738A-A2E4-40E9-881A-B1B9736C68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30073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7306C4-9593-066A-D576-00FE64102A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442630E1-6B84-83F2-08EB-648F01DF07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B9EE770E-DC0A-3395-AF11-C3A3C3F1FC5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Section gouvernance en 2 slides – </a:t>
            </a:r>
            <a:r>
              <a:rPr lang="fr-FR" dirty="0" err="1"/>
              <a:t>Board</a:t>
            </a:r>
            <a:r>
              <a:rPr lang="fr-FR" dirty="0"/>
              <a:t> en 1 et COMEX en 2 </a:t>
            </a:r>
          </a:p>
          <a:p>
            <a:r>
              <a:rPr lang="fr-FR" dirty="0" err="1"/>
              <a:t>Board</a:t>
            </a:r>
            <a:r>
              <a:rPr lang="fr-FR" dirty="0"/>
              <a:t> section : rajouter plus d’éléments sur leurs responsabilités et rôles + inclure le visuel dispo sur le site AFKL Groupe –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B435814-7BAA-1F78-CBF3-A607547DDE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75738A-A2E4-40E9-881A-B1B9736C685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4901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262C5E-7016-49C6-A932-0199A8D046B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62988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75738A-A2E4-40E9-881A-B1B9736C685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09751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75738A-A2E4-40E9-881A-B1B9736C685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45840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75738A-A2E4-40E9-881A-B1B9736C68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45576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err="1"/>
              <a:t>Precise</a:t>
            </a:r>
            <a:r>
              <a:rPr lang="fr-FR"/>
              <a:t> in </a:t>
            </a:r>
            <a:r>
              <a:rPr lang="fr-FR" err="1"/>
              <a:t>voiceover</a:t>
            </a:r>
            <a:r>
              <a:rPr lang="fr-FR"/>
              <a:t> </a:t>
            </a:r>
            <a:r>
              <a:rPr lang="fr-FR" err="1"/>
              <a:t>what</a:t>
            </a:r>
            <a:r>
              <a:rPr lang="fr-FR"/>
              <a:t> catering options are </a:t>
            </a:r>
            <a:r>
              <a:rPr lang="fr-FR" err="1"/>
              <a:t>we</a:t>
            </a:r>
            <a:r>
              <a:rPr lang="fr-FR"/>
              <a:t> </a:t>
            </a:r>
            <a:r>
              <a:rPr lang="fr-FR" err="1"/>
              <a:t>highlighting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75738A-A2E4-40E9-881A-B1B9736C68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51872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>
                <a:solidFill>
                  <a:schemeClr val="tx1"/>
                </a:solidFill>
              </a:rPr>
              <a:t>BC: Cabin upgrade will improve customer satisfa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>
                <a:solidFill>
                  <a:schemeClr val="tx1"/>
                </a:solidFill>
              </a:rPr>
              <a:t>PCC: Strong customer appreciation since launch in 202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>
                <a:solidFill>
                  <a:schemeClr val="tx1"/>
                </a:solidFill>
              </a:rPr>
              <a:t>EC: Reducing service failures and recovery to improve sco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23028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err="1"/>
              <a:t>Add</a:t>
            </a:r>
            <a:r>
              <a:rPr lang="fr-FR"/>
              <a:t> to the </a:t>
            </a:r>
            <a:r>
              <a:rPr lang="fr-FR" err="1"/>
              <a:t>voiceover</a:t>
            </a:r>
            <a:r>
              <a:rPr lang="fr-FR"/>
              <a:t> </a:t>
            </a:r>
            <a:r>
              <a:rPr lang="fr-FR" err="1"/>
              <a:t>explanation</a:t>
            </a:r>
            <a:r>
              <a:rPr lang="fr-FR"/>
              <a:t> on </a:t>
            </a:r>
            <a:r>
              <a:rPr lang="fr-FR" err="1"/>
              <a:t>why</a:t>
            </a:r>
            <a:r>
              <a:rPr lang="fr-FR"/>
              <a:t> the fleet </a:t>
            </a:r>
            <a:r>
              <a:rPr lang="fr-FR" err="1"/>
              <a:t>improves</a:t>
            </a:r>
            <a:r>
              <a:rPr lang="fr-FR"/>
              <a:t> OP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75738A-A2E4-40E9-881A-B1B9736C68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67002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8.emf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8.emf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.xml"/><Relationship Id="rId5" Type="http://schemas.openxmlformats.org/officeDocument/2006/relationships/image" Target="../media/image2.png"/><Relationship Id="rId4" Type="http://schemas.openxmlformats.org/officeDocument/2006/relationships/image" Target="../media/image8.emf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8.emf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8615" y="-2"/>
            <a:ext cx="8323385" cy="6858001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9C2D8AD-1715-506C-4C50-71A457D1B6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3" y="0"/>
            <a:ext cx="3868615" cy="685800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8E78691B-7AE2-48B1-84EE-3F3A5F3F60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67764" y="5039214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15">
            <a:extLst>
              <a:ext uri="{FF2B5EF4-FFF2-40B4-BE49-F238E27FC236}">
                <a16:creationId xmlns:a16="http://schemas.microsoft.com/office/drawing/2014/main" id="{1E77BB4D-36FB-D18C-A962-8154A27156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5122" y="5039898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26B32CC9-58AF-57F1-2652-427D03608D1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245328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090737"/>
            <a:ext cx="3391011" cy="4167187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FA8B9CA-B0C9-4E89-1BF3-35B6F10DC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46422250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6CB50D1-4DE1-5F46-1888-8A2C8C75C76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8A4F1AA1-ED3F-E1DD-5DE5-9B2FC7A8C08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C3A3A5D0-AA12-6B2B-3FD5-187FB5F7B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9">
            <a:extLst>
              <a:ext uri="{FF2B5EF4-FFF2-40B4-BE49-F238E27FC236}">
                <a16:creationId xmlns:a16="http://schemas.microsoft.com/office/drawing/2014/main" id="{6B26703F-F8BD-6CC0-4018-915E90FAFA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37848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3391011" cy="62579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851148D5-F814-03B8-D42F-D36338D4D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4685" y="749300"/>
            <a:ext cx="8227711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24605495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090737"/>
            <a:ext cx="3391011" cy="4167187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FA8B9CA-B0C9-4E89-1BF3-35B6F10DC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93305963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e de titre">
    <p:bg>
      <p:bgPr>
        <a:solidFill>
          <a:schemeClr val="bg2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C0D2B5A7-C0D8-D75E-1523-5F65B65C974D}"/>
              </a:ext>
            </a:extLst>
          </p:cNvPr>
          <p:cNvSpPr/>
          <p:nvPr userDrawn="1"/>
        </p:nvSpPr>
        <p:spPr>
          <a:xfrm>
            <a:off x="8479355" y="387089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B25BF9-A278-758A-9CC2-F8E17BA2847B}"/>
              </a:ext>
            </a:extLst>
          </p:cNvPr>
          <p:cNvSpPr/>
          <p:nvPr userDrawn="1"/>
        </p:nvSpPr>
        <p:spPr>
          <a:xfrm>
            <a:off x="8472321" y="146056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4B227E3-ED2F-17F9-677C-90D813754385}"/>
              </a:ext>
            </a:extLst>
          </p:cNvPr>
          <p:cNvSpPr/>
          <p:nvPr userDrawn="1"/>
        </p:nvSpPr>
        <p:spPr>
          <a:xfrm>
            <a:off x="3227446" y="386620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48F2C4-0D1C-BF29-6466-89B62A36C966}"/>
              </a:ext>
            </a:extLst>
          </p:cNvPr>
          <p:cNvSpPr/>
          <p:nvPr userDrawn="1"/>
        </p:nvSpPr>
        <p:spPr>
          <a:xfrm>
            <a:off x="3220412" y="145587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489" y="1455876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504D176-9365-C4EC-194B-9D1D0889E7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5026" y="3852718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pour une image  2">
            <a:extLst>
              <a:ext uri="{FF2B5EF4-FFF2-40B4-BE49-F238E27FC236}">
                <a16:creationId xmlns:a16="http://schemas.microsoft.com/office/drawing/2014/main" id="{F8ECD786-5F3E-66BE-6167-7FDA8A0DC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37467" y="1460490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015FFF62-038F-DFBD-3A5D-EAA91157EB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939004" y="3857332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EAD8A23E-04F1-12EF-E55B-4AF40B65F6D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7CBD5A17-C25A-D285-E8D1-A69222DE2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9">
            <a:extLst>
              <a:ext uri="{FF2B5EF4-FFF2-40B4-BE49-F238E27FC236}">
                <a16:creationId xmlns:a16="http://schemas.microsoft.com/office/drawing/2014/main" id="{0D68BCA5-9441-D4B4-67B2-ACB415DD89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96348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7922A806-3050-6216-8467-8A8F7E9309A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96348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1" name="Espace réservé du texte 9">
            <a:extLst>
              <a:ext uri="{FF2B5EF4-FFF2-40B4-BE49-F238E27FC236}">
                <a16:creationId xmlns:a16="http://schemas.microsoft.com/office/drawing/2014/main" id="{565E36FC-49D5-6755-6DBD-1E4F4A6B380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536005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2" name="Espace réservé du texte 9">
            <a:extLst>
              <a:ext uri="{FF2B5EF4-FFF2-40B4-BE49-F238E27FC236}">
                <a16:creationId xmlns:a16="http://schemas.microsoft.com/office/drawing/2014/main" id="{88C19381-CEB1-4BE8-5E02-166049BF744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36005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29263262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876D64BD-3DB0-0543-8F14-0E172C5E60C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09853" y="0"/>
            <a:ext cx="5782147" cy="6255544"/>
          </a:xfrm>
          <a:custGeom>
            <a:avLst/>
            <a:gdLst>
              <a:gd name="connsiteX0" fmla="*/ 0 w 5782147"/>
              <a:gd name="connsiteY0" fmla="*/ 0 h 6255544"/>
              <a:gd name="connsiteX1" fmla="*/ 5782147 w 5782147"/>
              <a:gd name="connsiteY1" fmla="*/ 0 h 6255544"/>
              <a:gd name="connsiteX2" fmla="*/ 5782147 w 5782147"/>
              <a:gd name="connsiteY2" fmla="*/ 6086281 h 6255544"/>
              <a:gd name="connsiteX3" fmla="*/ 2938147 w 5782147"/>
              <a:gd name="connsiteY3" fmla="*/ 6086281 h 6255544"/>
              <a:gd name="connsiteX4" fmla="*/ 2938147 w 5782147"/>
              <a:gd name="connsiteY4" fmla="*/ 6255544 h 6255544"/>
              <a:gd name="connsiteX5" fmla="*/ 0 w 5782147"/>
              <a:gd name="connsiteY5" fmla="*/ 6255544 h 6255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82147" h="6255544">
                <a:moveTo>
                  <a:pt x="0" y="0"/>
                </a:moveTo>
                <a:lnTo>
                  <a:pt x="5782147" y="0"/>
                </a:lnTo>
                <a:lnTo>
                  <a:pt x="5782147" y="6086281"/>
                </a:lnTo>
                <a:lnTo>
                  <a:pt x="2938147" y="6086281"/>
                </a:lnTo>
                <a:lnTo>
                  <a:pt x="2938147" y="6255544"/>
                </a:lnTo>
                <a:lnTo>
                  <a:pt x="0" y="6255544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9E50CB6E-2DE4-D19F-9231-9EA4C833DAF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921E50DF-DE8F-807A-0850-1748D7B831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85D031EE-AA2B-B220-2EC5-D23A7A963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17615102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D8480E7-2ECC-BD48-B203-9FEEDCAD8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F31E1BF-5516-0441-A69F-90F33FB7B57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481285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93E953-A901-81BD-D2C5-2111501732C7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EE983DBA-5065-6529-7AB8-AE21490489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873CE2BF-1890-B51F-0290-2F21AA5523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15542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02000234-53E8-0EB5-64B2-5273511CE8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919F608-FE4D-0791-8EF8-C8E6397447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74470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0AD9DF82-143A-F3CC-92CA-525C0080C0C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46585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239616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27444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0AEBD8B4-D833-1BB4-AA20-4D5388B0FF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6351" y="2099039"/>
            <a:ext cx="4240152" cy="415888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F295785-1711-3186-52FD-589454E56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07D87CC-E99A-FFA2-6E6F-B2CCDCD6BE9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74355" y="2108200"/>
            <a:ext cx="6698042" cy="37410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492183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e de titre">
    <p:bg>
      <p:bgPr>
        <a:solidFill>
          <a:schemeClr val="bg2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C0D2B5A7-C0D8-D75E-1523-5F65B65C974D}"/>
              </a:ext>
            </a:extLst>
          </p:cNvPr>
          <p:cNvSpPr/>
          <p:nvPr userDrawn="1"/>
        </p:nvSpPr>
        <p:spPr>
          <a:xfrm>
            <a:off x="8479355" y="387089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B25BF9-A278-758A-9CC2-F8E17BA2847B}"/>
              </a:ext>
            </a:extLst>
          </p:cNvPr>
          <p:cNvSpPr/>
          <p:nvPr userDrawn="1"/>
        </p:nvSpPr>
        <p:spPr>
          <a:xfrm>
            <a:off x="8472321" y="146056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4B227E3-ED2F-17F9-677C-90D813754385}"/>
              </a:ext>
            </a:extLst>
          </p:cNvPr>
          <p:cNvSpPr/>
          <p:nvPr userDrawn="1"/>
        </p:nvSpPr>
        <p:spPr>
          <a:xfrm>
            <a:off x="3227446" y="386620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48F2C4-0D1C-BF29-6466-89B62A36C966}"/>
              </a:ext>
            </a:extLst>
          </p:cNvPr>
          <p:cNvSpPr/>
          <p:nvPr userDrawn="1"/>
        </p:nvSpPr>
        <p:spPr>
          <a:xfrm>
            <a:off x="3220412" y="145587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489" y="1455876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504D176-9365-C4EC-194B-9D1D0889E7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5026" y="3852718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pour une image  2">
            <a:extLst>
              <a:ext uri="{FF2B5EF4-FFF2-40B4-BE49-F238E27FC236}">
                <a16:creationId xmlns:a16="http://schemas.microsoft.com/office/drawing/2014/main" id="{F8ECD786-5F3E-66BE-6167-7FDA8A0DC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37467" y="1460490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015FFF62-038F-DFBD-3A5D-EAA91157EB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939004" y="3857332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EAD8A23E-04F1-12EF-E55B-4AF40B65F6D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7CBD5A17-C25A-D285-E8D1-A69222DE2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9">
            <a:extLst>
              <a:ext uri="{FF2B5EF4-FFF2-40B4-BE49-F238E27FC236}">
                <a16:creationId xmlns:a16="http://schemas.microsoft.com/office/drawing/2014/main" id="{0D68BCA5-9441-D4B4-67B2-ACB415DD89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96348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7922A806-3050-6216-8467-8A8F7E9309A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96348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1" name="Espace réservé du texte 9">
            <a:extLst>
              <a:ext uri="{FF2B5EF4-FFF2-40B4-BE49-F238E27FC236}">
                <a16:creationId xmlns:a16="http://schemas.microsoft.com/office/drawing/2014/main" id="{565E36FC-49D5-6755-6DBD-1E4F4A6B380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536005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2" name="Espace réservé du texte 9">
            <a:extLst>
              <a:ext uri="{FF2B5EF4-FFF2-40B4-BE49-F238E27FC236}">
                <a16:creationId xmlns:a16="http://schemas.microsoft.com/office/drawing/2014/main" id="{88C19381-CEB1-4BE8-5E02-166049BF744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36005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37823550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0" y="-2"/>
            <a:ext cx="4730095" cy="6858001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DA7A9B1-EF59-8AC2-1957-FADDF5221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3744299" cy="134143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45964976-9C49-F0B2-AB57-69073CE49E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744285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76718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658799" y="1465180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EDBDB2-1C9E-6316-97DF-6FAA2F41240E}"/>
              </a:ext>
            </a:extLst>
          </p:cNvPr>
          <p:cNvSpPr/>
          <p:nvPr userDrawn="1"/>
        </p:nvSpPr>
        <p:spPr>
          <a:xfrm>
            <a:off x="5759696" y="1465179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0E61F4-928D-E47E-790C-50BA81522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768AA2AA-41C8-255D-06B8-BBFF30F8C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B090E4BE-50BA-E49B-6672-0D0B2324E7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84112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87104830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18391565-978C-1B2F-4335-6E485A0F343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5126386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920A98C3-7860-1E8E-A6D8-847264A24841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362075" y="1087438"/>
            <a:ext cx="9034463" cy="4298950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622725D-1762-043F-3353-EE3AC5D4598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3335801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3547E85-ECD8-921E-B711-847582FA94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9676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06" imgH="306" progId="TCLayout.ActiveDocument.1">
                  <p:embed/>
                </p:oleObj>
              </mc:Choice>
              <mc:Fallback>
                <p:oleObj name="Diapositive think-cell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547E85-ECD8-921E-B711-847582FA94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/>
            <a:fld id="{197EC20F-E1CA-40E9-95A1-81880EA802A8}" type="slidenum">
              <a:rPr lang="en-US" smtClean="0"/>
              <a:pPr algn="r" rtl="0"/>
              <a:t>‹N°›</a:t>
            </a:fld>
            <a:endParaRPr lang="en-US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F4A2FB98-4D61-787B-243C-AE40FC8F8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83433919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A413F59-EA34-9428-A6CE-AC2C2A54FF6F}"/>
              </a:ext>
            </a:extLst>
          </p:cNvPr>
          <p:cNvSpPr/>
          <p:nvPr userDrawn="1"/>
        </p:nvSpPr>
        <p:spPr>
          <a:xfrm>
            <a:off x="0" y="3602024"/>
            <a:ext cx="12192000" cy="137457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D903D5C-600B-EDF3-EAB3-858656FE166F}"/>
              </a:ext>
            </a:extLst>
          </p:cNvPr>
          <p:cNvSpPr/>
          <p:nvPr userDrawn="1"/>
        </p:nvSpPr>
        <p:spPr>
          <a:xfrm>
            <a:off x="4980000" y="3602025"/>
            <a:ext cx="7212000" cy="452083"/>
          </a:xfrm>
          <a:prstGeom prst="rect">
            <a:avLst/>
          </a:prstGeom>
          <a:gradFill flip="none" rotWithShape="1">
            <a:gsLst>
              <a:gs pos="50000">
                <a:srgbClr val="0365D4"/>
              </a:gs>
              <a:gs pos="0">
                <a:schemeClr val="tx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976601"/>
            <a:ext cx="12192000" cy="18813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2945AF39-2E36-2BBD-B09E-34A01FD27F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742" y="2937458"/>
            <a:ext cx="2502000" cy="582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67290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5740286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489704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5416" y="3301603"/>
            <a:ext cx="11038041" cy="86383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09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970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5740286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9775" y="3362455"/>
            <a:ext cx="5403680" cy="8638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09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61702465-F9DD-0678-CBD5-60029BC2E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7620"/>
            <a:ext cx="6354762" cy="5871845"/>
          </a:xfrm>
          <a:custGeom>
            <a:avLst/>
            <a:gdLst>
              <a:gd name="connsiteX0" fmla="*/ 0 w 6354762"/>
              <a:gd name="connsiteY0" fmla="*/ 0 h 5864225"/>
              <a:gd name="connsiteX1" fmla="*/ 6354762 w 6354762"/>
              <a:gd name="connsiteY1" fmla="*/ 0 h 5864225"/>
              <a:gd name="connsiteX2" fmla="*/ 6354762 w 6354762"/>
              <a:gd name="connsiteY2" fmla="*/ 5864225 h 5864225"/>
              <a:gd name="connsiteX3" fmla="*/ 0 w 6354762"/>
              <a:gd name="connsiteY3" fmla="*/ 5864225 h 5864225"/>
              <a:gd name="connsiteX4" fmla="*/ 0 w 6354762"/>
              <a:gd name="connsiteY4" fmla="*/ 0 h 5864225"/>
              <a:gd name="connsiteX0" fmla="*/ 0 w 6354762"/>
              <a:gd name="connsiteY0" fmla="*/ 7620 h 5871845"/>
              <a:gd name="connsiteX1" fmla="*/ 479647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1552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3076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4762" h="5871845">
                <a:moveTo>
                  <a:pt x="0" y="7620"/>
                </a:moveTo>
                <a:lnTo>
                  <a:pt x="4830762" y="0"/>
                </a:lnTo>
                <a:lnTo>
                  <a:pt x="6354762" y="5871845"/>
                </a:lnTo>
                <a:lnTo>
                  <a:pt x="0" y="5871845"/>
                </a:lnTo>
                <a:lnTo>
                  <a:pt x="0" y="7620"/>
                </a:lnTo>
                <a:close/>
              </a:path>
            </a:pathLst>
          </a:cu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9313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782843"/>
            <a:ext cx="11249916" cy="5029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37614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8615" y="-2"/>
            <a:ext cx="8323385" cy="6858001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9C2D8AD-1715-506C-4C50-71A457D1B6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3" y="0"/>
            <a:ext cx="3868615" cy="685800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8E78691B-7AE2-48B1-84EE-3F3A5F3F60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67764" y="5039214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15">
            <a:extLst>
              <a:ext uri="{FF2B5EF4-FFF2-40B4-BE49-F238E27FC236}">
                <a16:creationId xmlns:a16="http://schemas.microsoft.com/office/drawing/2014/main" id="{1E77BB4D-36FB-D18C-A962-8154A27156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5122" y="5039898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26B32CC9-58AF-57F1-2652-427D03608D1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59156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876D64BD-3DB0-0543-8F14-0E172C5E60C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09853" y="0"/>
            <a:ext cx="5782147" cy="6255544"/>
          </a:xfrm>
          <a:custGeom>
            <a:avLst/>
            <a:gdLst>
              <a:gd name="connsiteX0" fmla="*/ 0 w 5782147"/>
              <a:gd name="connsiteY0" fmla="*/ 0 h 6255544"/>
              <a:gd name="connsiteX1" fmla="*/ 5782147 w 5782147"/>
              <a:gd name="connsiteY1" fmla="*/ 0 h 6255544"/>
              <a:gd name="connsiteX2" fmla="*/ 5782147 w 5782147"/>
              <a:gd name="connsiteY2" fmla="*/ 6086281 h 6255544"/>
              <a:gd name="connsiteX3" fmla="*/ 2938147 w 5782147"/>
              <a:gd name="connsiteY3" fmla="*/ 6086281 h 6255544"/>
              <a:gd name="connsiteX4" fmla="*/ 2938147 w 5782147"/>
              <a:gd name="connsiteY4" fmla="*/ 6255544 h 6255544"/>
              <a:gd name="connsiteX5" fmla="*/ 0 w 5782147"/>
              <a:gd name="connsiteY5" fmla="*/ 6255544 h 6255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82147" h="6255544">
                <a:moveTo>
                  <a:pt x="0" y="0"/>
                </a:moveTo>
                <a:lnTo>
                  <a:pt x="5782147" y="0"/>
                </a:lnTo>
                <a:lnTo>
                  <a:pt x="5782147" y="6086281"/>
                </a:lnTo>
                <a:lnTo>
                  <a:pt x="2938147" y="6086281"/>
                </a:lnTo>
                <a:lnTo>
                  <a:pt x="2938147" y="6255544"/>
                </a:lnTo>
                <a:lnTo>
                  <a:pt x="0" y="6255544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9E50CB6E-2DE4-D19F-9231-9EA4C833DAF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921E50DF-DE8F-807A-0850-1748D7B831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85D031EE-AA2B-B220-2EC5-D23A7A963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69312044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texte 15">
            <a:extLst>
              <a:ext uri="{FF2B5EF4-FFF2-40B4-BE49-F238E27FC236}">
                <a16:creationId xmlns:a16="http://schemas.microsoft.com/office/drawing/2014/main" id="{21448705-9BE5-B112-66F2-E4987C76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8031" y="5326145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7715744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texte 15">
            <a:extLst>
              <a:ext uri="{FF2B5EF4-FFF2-40B4-BE49-F238E27FC236}">
                <a16:creationId xmlns:a16="http://schemas.microsoft.com/office/drawing/2014/main" id="{51C70AAC-1C75-615D-436C-EEB18130EA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8031" y="4562949"/>
            <a:ext cx="8003091" cy="157271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b="0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>
                <a:solidFill>
                  <a:schemeClr val="bg1"/>
                </a:solidFill>
              </a:defRPr>
            </a:lvl2pPr>
            <a:lvl3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3pPr>
            <a:lvl4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4pPr>
            <a:lvl5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6345942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54315" y="5171447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DBDB161D-9C5D-3E42-CE6A-7E1015B87F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567" y="5099957"/>
            <a:ext cx="6585665" cy="76426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01138A04-515B-878A-75BA-1E1A339BCAE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3627946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59AFCB35-0403-6FEF-D822-BAEB9AAC5B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48700" y="0"/>
            <a:ext cx="3543300" cy="6257925"/>
          </a:xfrm>
          <a:custGeom>
            <a:avLst/>
            <a:gdLst>
              <a:gd name="connsiteX0" fmla="*/ 0 w 3543300"/>
              <a:gd name="connsiteY0" fmla="*/ 0 h 6257925"/>
              <a:gd name="connsiteX1" fmla="*/ 3543300 w 3543300"/>
              <a:gd name="connsiteY1" fmla="*/ 0 h 6257925"/>
              <a:gd name="connsiteX2" fmla="*/ 3543300 w 3543300"/>
              <a:gd name="connsiteY2" fmla="*/ 6086281 h 6257925"/>
              <a:gd name="connsiteX3" fmla="*/ 699300 w 3543300"/>
              <a:gd name="connsiteY3" fmla="*/ 6086281 h 6257925"/>
              <a:gd name="connsiteX4" fmla="*/ 699300 w 3543300"/>
              <a:gd name="connsiteY4" fmla="*/ 6257083 h 6257925"/>
              <a:gd name="connsiteX5" fmla="*/ 3543300 w 3543300"/>
              <a:gd name="connsiteY5" fmla="*/ 6257083 h 6257925"/>
              <a:gd name="connsiteX6" fmla="*/ 3543300 w 3543300"/>
              <a:gd name="connsiteY6" fmla="*/ 6257925 h 6257925"/>
              <a:gd name="connsiteX7" fmla="*/ 0 w 3543300"/>
              <a:gd name="connsiteY7" fmla="*/ 6257925 h 6257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43300" h="6257925">
                <a:moveTo>
                  <a:pt x="0" y="0"/>
                </a:moveTo>
                <a:lnTo>
                  <a:pt x="3543300" y="0"/>
                </a:lnTo>
                <a:lnTo>
                  <a:pt x="3543300" y="6086281"/>
                </a:lnTo>
                <a:lnTo>
                  <a:pt x="699300" y="6086281"/>
                </a:lnTo>
                <a:lnTo>
                  <a:pt x="699300" y="6257083"/>
                </a:lnTo>
                <a:lnTo>
                  <a:pt x="3543300" y="6257083"/>
                </a:lnTo>
                <a:lnTo>
                  <a:pt x="3543300" y="6257925"/>
                </a:lnTo>
                <a:lnTo>
                  <a:pt x="0" y="625792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6BA7766B-92C4-BD21-9512-02F641AFA35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2A6459AD-62E4-7394-B1C8-3BAC043A1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788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20C4426-C117-DEA8-27FE-4478B40246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8813" y="1841500"/>
            <a:ext cx="7888287" cy="44084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0868121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6CB50D1-4DE1-5F46-1888-8A2C8C75C76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8A4F1AA1-ED3F-E1DD-5DE5-9B2FC7A8C08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C3A3A5D0-AA12-6B2B-3FD5-187FB5F7B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9">
            <a:extLst>
              <a:ext uri="{FF2B5EF4-FFF2-40B4-BE49-F238E27FC236}">
                <a16:creationId xmlns:a16="http://schemas.microsoft.com/office/drawing/2014/main" id="{6B26703F-F8BD-6CC0-4018-915E90FAFA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61000982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3391011" cy="62579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851148D5-F814-03B8-D42F-D36338D4D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4685" y="749300"/>
            <a:ext cx="8227711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10919302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090737"/>
            <a:ext cx="3391011" cy="4167187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FA8B9CA-B0C9-4E89-1BF3-35B6F10DC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54786571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e de titre">
    <p:bg>
      <p:bgPr>
        <a:solidFill>
          <a:schemeClr val="bg2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C0D2B5A7-C0D8-D75E-1523-5F65B65C974D}"/>
              </a:ext>
            </a:extLst>
          </p:cNvPr>
          <p:cNvSpPr/>
          <p:nvPr userDrawn="1"/>
        </p:nvSpPr>
        <p:spPr>
          <a:xfrm>
            <a:off x="8479355" y="387089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B25BF9-A278-758A-9CC2-F8E17BA2847B}"/>
              </a:ext>
            </a:extLst>
          </p:cNvPr>
          <p:cNvSpPr/>
          <p:nvPr userDrawn="1"/>
        </p:nvSpPr>
        <p:spPr>
          <a:xfrm>
            <a:off x="8472321" y="146056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4B227E3-ED2F-17F9-677C-90D813754385}"/>
              </a:ext>
            </a:extLst>
          </p:cNvPr>
          <p:cNvSpPr/>
          <p:nvPr userDrawn="1"/>
        </p:nvSpPr>
        <p:spPr>
          <a:xfrm>
            <a:off x="3227446" y="386620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48F2C4-0D1C-BF29-6466-89B62A36C966}"/>
              </a:ext>
            </a:extLst>
          </p:cNvPr>
          <p:cNvSpPr/>
          <p:nvPr userDrawn="1"/>
        </p:nvSpPr>
        <p:spPr>
          <a:xfrm>
            <a:off x="3220412" y="145587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489" y="1455876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504D176-9365-C4EC-194B-9D1D0889E7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5026" y="3852718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pour une image  2">
            <a:extLst>
              <a:ext uri="{FF2B5EF4-FFF2-40B4-BE49-F238E27FC236}">
                <a16:creationId xmlns:a16="http://schemas.microsoft.com/office/drawing/2014/main" id="{F8ECD786-5F3E-66BE-6167-7FDA8A0DC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37467" y="1460490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015FFF62-038F-DFBD-3A5D-EAA91157EB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939004" y="3857332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EAD8A23E-04F1-12EF-E55B-4AF40B65F6D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7CBD5A17-C25A-D285-E8D1-A69222DE2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9">
            <a:extLst>
              <a:ext uri="{FF2B5EF4-FFF2-40B4-BE49-F238E27FC236}">
                <a16:creationId xmlns:a16="http://schemas.microsoft.com/office/drawing/2014/main" id="{0D68BCA5-9441-D4B4-67B2-ACB415DD89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96348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7922A806-3050-6216-8467-8A8F7E9309A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96348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1" name="Espace réservé du texte 9">
            <a:extLst>
              <a:ext uri="{FF2B5EF4-FFF2-40B4-BE49-F238E27FC236}">
                <a16:creationId xmlns:a16="http://schemas.microsoft.com/office/drawing/2014/main" id="{565E36FC-49D5-6755-6DBD-1E4F4A6B380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536005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2" name="Espace réservé du texte 9">
            <a:extLst>
              <a:ext uri="{FF2B5EF4-FFF2-40B4-BE49-F238E27FC236}">
                <a16:creationId xmlns:a16="http://schemas.microsoft.com/office/drawing/2014/main" id="{88C19381-CEB1-4BE8-5E02-166049BF744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36005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96527484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876D64BD-3DB0-0543-8F14-0E172C5E60C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09853" y="0"/>
            <a:ext cx="5782147" cy="6255544"/>
          </a:xfrm>
          <a:custGeom>
            <a:avLst/>
            <a:gdLst>
              <a:gd name="connsiteX0" fmla="*/ 0 w 5782147"/>
              <a:gd name="connsiteY0" fmla="*/ 0 h 6255544"/>
              <a:gd name="connsiteX1" fmla="*/ 5782147 w 5782147"/>
              <a:gd name="connsiteY1" fmla="*/ 0 h 6255544"/>
              <a:gd name="connsiteX2" fmla="*/ 5782147 w 5782147"/>
              <a:gd name="connsiteY2" fmla="*/ 6086281 h 6255544"/>
              <a:gd name="connsiteX3" fmla="*/ 2938147 w 5782147"/>
              <a:gd name="connsiteY3" fmla="*/ 6086281 h 6255544"/>
              <a:gd name="connsiteX4" fmla="*/ 2938147 w 5782147"/>
              <a:gd name="connsiteY4" fmla="*/ 6255544 h 6255544"/>
              <a:gd name="connsiteX5" fmla="*/ 0 w 5782147"/>
              <a:gd name="connsiteY5" fmla="*/ 6255544 h 6255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82147" h="6255544">
                <a:moveTo>
                  <a:pt x="0" y="0"/>
                </a:moveTo>
                <a:lnTo>
                  <a:pt x="5782147" y="0"/>
                </a:lnTo>
                <a:lnTo>
                  <a:pt x="5782147" y="6086281"/>
                </a:lnTo>
                <a:lnTo>
                  <a:pt x="2938147" y="6086281"/>
                </a:lnTo>
                <a:lnTo>
                  <a:pt x="2938147" y="6255544"/>
                </a:lnTo>
                <a:lnTo>
                  <a:pt x="0" y="6255544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9E50CB6E-2DE4-D19F-9231-9EA4C833DAF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921E50DF-DE8F-807A-0850-1748D7B831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85D031EE-AA2B-B220-2EC5-D23A7A963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6830017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D8480E7-2ECC-BD48-B203-9FEEDCAD8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F31E1BF-5516-0441-A69F-90F33FB7B57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235229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D8480E7-2ECC-BD48-B203-9FEEDCAD8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F31E1BF-5516-0441-A69F-90F33FB7B57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220232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-7370" y="1463040"/>
            <a:ext cx="12192000" cy="4794043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93E953-A901-81BD-D2C5-2111501732C7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EE983DBA-5065-6529-7AB8-AE21490489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873CE2BF-1890-B51F-0290-2F21AA5523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40642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02000234-53E8-0EB5-64B2-5273511CE8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919F608-FE4D-0791-8EF8-C8E6397447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74470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0AD9DF82-143A-F3CC-92CA-525C0080C0C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46585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3941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901764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0AEBD8B4-D833-1BB4-AA20-4D5388B0FF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6351" y="2099039"/>
            <a:ext cx="4240152" cy="415888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F295785-1711-3186-52FD-589454E56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07D87CC-E99A-FFA2-6E6F-B2CCDCD6BE9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74355" y="2108200"/>
            <a:ext cx="6698042" cy="37410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38481850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0" y="-2"/>
            <a:ext cx="4730095" cy="6858001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DA7A9B1-EF59-8AC2-1957-FADDF5221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3744299" cy="134143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45964976-9C49-F0B2-AB57-69073CE49E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744285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8953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658799" y="1465180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EDBDB2-1C9E-6316-97DF-6FAA2F41240E}"/>
              </a:ext>
            </a:extLst>
          </p:cNvPr>
          <p:cNvSpPr/>
          <p:nvPr userDrawn="1"/>
        </p:nvSpPr>
        <p:spPr>
          <a:xfrm>
            <a:off x="5759696" y="1465179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0E61F4-928D-E47E-790C-50BA81522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768AA2AA-41C8-255D-06B8-BBFF30F8C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B090E4BE-50BA-E49B-6672-0D0B2324E7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84112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9403678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18391565-978C-1B2F-4335-6E485A0F343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235636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920A98C3-7860-1E8E-A6D8-847264A24841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362075" y="1087438"/>
            <a:ext cx="9034463" cy="4298950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622725D-1762-043F-3353-EE3AC5D4598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2203573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3547E85-ECD8-921E-B711-847582FA94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9676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06" imgH="306" progId="TCLayout.ActiveDocument.1">
                  <p:embed/>
                </p:oleObj>
              </mc:Choice>
              <mc:Fallback>
                <p:oleObj name="Diapositive think-cell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547E85-ECD8-921E-B711-847582FA94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/>
            <a:fld id="{197EC20F-E1CA-40E9-95A1-81880EA802A8}" type="slidenum">
              <a:rPr lang="en-US" smtClean="0"/>
              <a:pPr algn="r" rtl="0"/>
              <a:t>‹N°›</a:t>
            </a:fld>
            <a:endParaRPr lang="en-US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F4A2FB98-4D61-787B-243C-AE40FC8F8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97961300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A413F59-EA34-9428-A6CE-AC2C2A54FF6F}"/>
              </a:ext>
            </a:extLst>
          </p:cNvPr>
          <p:cNvSpPr/>
          <p:nvPr userDrawn="1"/>
        </p:nvSpPr>
        <p:spPr>
          <a:xfrm>
            <a:off x="0" y="3602024"/>
            <a:ext cx="12192000" cy="137457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D903D5C-600B-EDF3-EAB3-858656FE166F}"/>
              </a:ext>
            </a:extLst>
          </p:cNvPr>
          <p:cNvSpPr/>
          <p:nvPr userDrawn="1"/>
        </p:nvSpPr>
        <p:spPr>
          <a:xfrm>
            <a:off x="4980000" y="3602025"/>
            <a:ext cx="7212000" cy="452083"/>
          </a:xfrm>
          <a:prstGeom prst="rect">
            <a:avLst/>
          </a:prstGeom>
          <a:gradFill flip="none" rotWithShape="1">
            <a:gsLst>
              <a:gs pos="50000">
                <a:srgbClr val="0365D4"/>
              </a:gs>
              <a:gs pos="0">
                <a:schemeClr val="tx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976601"/>
            <a:ext cx="12192000" cy="18813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2945AF39-2E36-2BBD-B09E-34A01FD27F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742" y="2937458"/>
            <a:ext cx="2502000" cy="582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9960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D8480E7-2ECC-BD48-B203-9FEEDCAD8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199404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5740286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489704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5416" y="3301603"/>
            <a:ext cx="11038041" cy="86383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09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846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5740286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9775" y="3362455"/>
            <a:ext cx="5403680" cy="8638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09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61702465-F9DD-0678-CBD5-60029BC2E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7620"/>
            <a:ext cx="6354762" cy="5871845"/>
          </a:xfrm>
          <a:custGeom>
            <a:avLst/>
            <a:gdLst>
              <a:gd name="connsiteX0" fmla="*/ 0 w 6354762"/>
              <a:gd name="connsiteY0" fmla="*/ 0 h 5864225"/>
              <a:gd name="connsiteX1" fmla="*/ 6354762 w 6354762"/>
              <a:gd name="connsiteY1" fmla="*/ 0 h 5864225"/>
              <a:gd name="connsiteX2" fmla="*/ 6354762 w 6354762"/>
              <a:gd name="connsiteY2" fmla="*/ 5864225 h 5864225"/>
              <a:gd name="connsiteX3" fmla="*/ 0 w 6354762"/>
              <a:gd name="connsiteY3" fmla="*/ 5864225 h 5864225"/>
              <a:gd name="connsiteX4" fmla="*/ 0 w 6354762"/>
              <a:gd name="connsiteY4" fmla="*/ 0 h 5864225"/>
              <a:gd name="connsiteX0" fmla="*/ 0 w 6354762"/>
              <a:gd name="connsiteY0" fmla="*/ 7620 h 5871845"/>
              <a:gd name="connsiteX1" fmla="*/ 479647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1552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3076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4762" h="5871845">
                <a:moveTo>
                  <a:pt x="0" y="7620"/>
                </a:moveTo>
                <a:lnTo>
                  <a:pt x="4830762" y="0"/>
                </a:lnTo>
                <a:lnTo>
                  <a:pt x="6354762" y="5871845"/>
                </a:lnTo>
                <a:lnTo>
                  <a:pt x="0" y="5871845"/>
                </a:lnTo>
                <a:lnTo>
                  <a:pt x="0" y="7620"/>
                </a:lnTo>
                <a:close/>
              </a:path>
            </a:pathLst>
          </a:cu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0381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8615" y="-2"/>
            <a:ext cx="8323385" cy="6858001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9C2D8AD-1715-506C-4C50-71A457D1B6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3" y="0"/>
            <a:ext cx="3868615" cy="685800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8E78691B-7AE2-48B1-84EE-3F3A5F3F60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67764" y="5039214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15">
            <a:extLst>
              <a:ext uri="{FF2B5EF4-FFF2-40B4-BE49-F238E27FC236}">
                <a16:creationId xmlns:a16="http://schemas.microsoft.com/office/drawing/2014/main" id="{1E77BB4D-36FB-D18C-A962-8154A27156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5122" y="5039898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26B32CC9-58AF-57F1-2652-427D03608D1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1788825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texte 15">
            <a:extLst>
              <a:ext uri="{FF2B5EF4-FFF2-40B4-BE49-F238E27FC236}">
                <a16:creationId xmlns:a16="http://schemas.microsoft.com/office/drawing/2014/main" id="{21448705-9BE5-B112-66F2-E4987C76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8031" y="5326145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88110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texte 15">
            <a:extLst>
              <a:ext uri="{FF2B5EF4-FFF2-40B4-BE49-F238E27FC236}">
                <a16:creationId xmlns:a16="http://schemas.microsoft.com/office/drawing/2014/main" id="{51C70AAC-1C75-615D-436C-EEB18130EA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8031" y="4562949"/>
            <a:ext cx="8003091" cy="157271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b="0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>
                <a:solidFill>
                  <a:schemeClr val="bg1"/>
                </a:solidFill>
              </a:defRPr>
            </a:lvl2pPr>
            <a:lvl3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3pPr>
            <a:lvl4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4pPr>
            <a:lvl5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8832022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54315" y="5171447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DBDB161D-9C5D-3E42-CE6A-7E1015B87F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567" y="5099957"/>
            <a:ext cx="6585665" cy="76426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01138A04-515B-878A-75BA-1E1A339BCAE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3903568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59AFCB35-0403-6FEF-D822-BAEB9AAC5B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48700" y="0"/>
            <a:ext cx="3543300" cy="6257925"/>
          </a:xfrm>
          <a:custGeom>
            <a:avLst/>
            <a:gdLst>
              <a:gd name="connsiteX0" fmla="*/ 0 w 3543300"/>
              <a:gd name="connsiteY0" fmla="*/ 0 h 6257925"/>
              <a:gd name="connsiteX1" fmla="*/ 3543300 w 3543300"/>
              <a:gd name="connsiteY1" fmla="*/ 0 h 6257925"/>
              <a:gd name="connsiteX2" fmla="*/ 3543300 w 3543300"/>
              <a:gd name="connsiteY2" fmla="*/ 6086281 h 6257925"/>
              <a:gd name="connsiteX3" fmla="*/ 699300 w 3543300"/>
              <a:gd name="connsiteY3" fmla="*/ 6086281 h 6257925"/>
              <a:gd name="connsiteX4" fmla="*/ 699300 w 3543300"/>
              <a:gd name="connsiteY4" fmla="*/ 6257083 h 6257925"/>
              <a:gd name="connsiteX5" fmla="*/ 3543300 w 3543300"/>
              <a:gd name="connsiteY5" fmla="*/ 6257083 h 6257925"/>
              <a:gd name="connsiteX6" fmla="*/ 3543300 w 3543300"/>
              <a:gd name="connsiteY6" fmla="*/ 6257925 h 6257925"/>
              <a:gd name="connsiteX7" fmla="*/ 0 w 3543300"/>
              <a:gd name="connsiteY7" fmla="*/ 6257925 h 6257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43300" h="6257925">
                <a:moveTo>
                  <a:pt x="0" y="0"/>
                </a:moveTo>
                <a:lnTo>
                  <a:pt x="3543300" y="0"/>
                </a:lnTo>
                <a:lnTo>
                  <a:pt x="3543300" y="6086281"/>
                </a:lnTo>
                <a:lnTo>
                  <a:pt x="699300" y="6086281"/>
                </a:lnTo>
                <a:lnTo>
                  <a:pt x="699300" y="6257083"/>
                </a:lnTo>
                <a:lnTo>
                  <a:pt x="3543300" y="6257083"/>
                </a:lnTo>
                <a:lnTo>
                  <a:pt x="3543300" y="6257925"/>
                </a:lnTo>
                <a:lnTo>
                  <a:pt x="0" y="625792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6BA7766B-92C4-BD21-9512-02F641AFA35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2A6459AD-62E4-7394-B1C8-3BAC043A1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788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20C4426-C117-DEA8-27FE-4478B40246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8813" y="1841500"/>
            <a:ext cx="7888287" cy="44084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68405756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6CB50D1-4DE1-5F46-1888-8A2C8C75C76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8A4F1AA1-ED3F-E1DD-5DE5-9B2FC7A8C08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C3A3A5D0-AA12-6B2B-3FD5-187FB5F7B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9">
            <a:extLst>
              <a:ext uri="{FF2B5EF4-FFF2-40B4-BE49-F238E27FC236}">
                <a16:creationId xmlns:a16="http://schemas.microsoft.com/office/drawing/2014/main" id="{6B26703F-F8BD-6CC0-4018-915E90FAFA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71572166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3391011" cy="62579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851148D5-F814-03B8-D42F-D36338D4D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4685" y="749300"/>
            <a:ext cx="8227711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72125877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090737"/>
            <a:ext cx="3391011" cy="4167187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FA8B9CA-B0C9-4E89-1BF3-35B6F10DC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1884408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-7370" y="1463040"/>
            <a:ext cx="12192000" cy="4794043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93E953-A901-81BD-D2C5-2111501732C7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EE983DBA-5065-6529-7AB8-AE21490489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873CE2BF-1890-B51F-0290-2F21AA5523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04235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e de titre">
    <p:bg>
      <p:bgPr>
        <a:solidFill>
          <a:schemeClr val="bg2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C0D2B5A7-C0D8-D75E-1523-5F65B65C974D}"/>
              </a:ext>
            </a:extLst>
          </p:cNvPr>
          <p:cNvSpPr/>
          <p:nvPr userDrawn="1"/>
        </p:nvSpPr>
        <p:spPr>
          <a:xfrm>
            <a:off x="8479355" y="387089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B25BF9-A278-758A-9CC2-F8E17BA2847B}"/>
              </a:ext>
            </a:extLst>
          </p:cNvPr>
          <p:cNvSpPr/>
          <p:nvPr userDrawn="1"/>
        </p:nvSpPr>
        <p:spPr>
          <a:xfrm>
            <a:off x="8472321" y="146056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4B227E3-ED2F-17F9-677C-90D813754385}"/>
              </a:ext>
            </a:extLst>
          </p:cNvPr>
          <p:cNvSpPr/>
          <p:nvPr userDrawn="1"/>
        </p:nvSpPr>
        <p:spPr>
          <a:xfrm>
            <a:off x="3227446" y="386620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48F2C4-0D1C-BF29-6466-89B62A36C966}"/>
              </a:ext>
            </a:extLst>
          </p:cNvPr>
          <p:cNvSpPr/>
          <p:nvPr userDrawn="1"/>
        </p:nvSpPr>
        <p:spPr>
          <a:xfrm>
            <a:off x="3220412" y="145587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489" y="1455876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504D176-9365-C4EC-194B-9D1D0889E7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5026" y="3852718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pour une image  2">
            <a:extLst>
              <a:ext uri="{FF2B5EF4-FFF2-40B4-BE49-F238E27FC236}">
                <a16:creationId xmlns:a16="http://schemas.microsoft.com/office/drawing/2014/main" id="{F8ECD786-5F3E-66BE-6167-7FDA8A0DC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37467" y="1460490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015FFF62-038F-DFBD-3A5D-EAA91157EB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939004" y="3857332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EAD8A23E-04F1-12EF-E55B-4AF40B65F6D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7CBD5A17-C25A-D285-E8D1-A69222DE2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9">
            <a:extLst>
              <a:ext uri="{FF2B5EF4-FFF2-40B4-BE49-F238E27FC236}">
                <a16:creationId xmlns:a16="http://schemas.microsoft.com/office/drawing/2014/main" id="{0D68BCA5-9441-D4B4-67B2-ACB415DD89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96348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7922A806-3050-6216-8467-8A8F7E9309A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96348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1" name="Espace réservé du texte 9">
            <a:extLst>
              <a:ext uri="{FF2B5EF4-FFF2-40B4-BE49-F238E27FC236}">
                <a16:creationId xmlns:a16="http://schemas.microsoft.com/office/drawing/2014/main" id="{565E36FC-49D5-6755-6DBD-1E4F4A6B380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536005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2" name="Espace réservé du texte 9">
            <a:extLst>
              <a:ext uri="{FF2B5EF4-FFF2-40B4-BE49-F238E27FC236}">
                <a16:creationId xmlns:a16="http://schemas.microsoft.com/office/drawing/2014/main" id="{88C19381-CEB1-4BE8-5E02-166049BF744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36005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1552273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876D64BD-3DB0-0543-8F14-0E172C5E60C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09853" y="0"/>
            <a:ext cx="5782147" cy="6255544"/>
          </a:xfrm>
          <a:custGeom>
            <a:avLst/>
            <a:gdLst>
              <a:gd name="connsiteX0" fmla="*/ 0 w 5782147"/>
              <a:gd name="connsiteY0" fmla="*/ 0 h 6255544"/>
              <a:gd name="connsiteX1" fmla="*/ 5782147 w 5782147"/>
              <a:gd name="connsiteY1" fmla="*/ 0 h 6255544"/>
              <a:gd name="connsiteX2" fmla="*/ 5782147 w 5782147"/>
              <a:gd name="connsiteY2" fmla="*/ 6086281 h 6255544"/>
              <a:gd name="connsiteX3" fmla="*/ 2938147 w 5782147"/>
              <a:gd name="connsiteY3" fmla="*/ 6086281 h 6255544"/>
              <a:gd name="connsiteX4" fmla="*/ 2938147 w 5782147"/>
              <a:gd name="connsiteY4" fmla="*/ 6255544 h 6255544"/>
              <a:gd name="connsiteX5" fmla="*/ 0 w 5782147"/>
              <a:gd name="connsiteY5" fmla="*/ 6255544 h 6255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82147" h="6255544">
                <a:moveTo>
                  <a:pt x="0" y="0"/>
                </a:moveTo>
                <a:lnTo>
                  <a:pt x="5782147" y="0"/>
                </a:lnTo>
                <a:lnTo>
                  <a:pt x="5782147" y="6086281"/>
                </a:lnTo>
                <a:lnTo>
                  <a:pt x="2938147" y="6086281"/>
                </a:lnTo>
                <a:lnTo>
                  <a:pt x="2938147" y="6255544"/>
                </a:lnTo>
                <a:lnTo>
                  <a:pt x="0" y="6255544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9E50CB6E-2DE4-D19F-9231-9EA4C833DAF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921E50DF-DE8F-807A-0850-1748D7B831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85D031EE-AA2B-B220-2EC5-D23A7A963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25929404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D8480E7-2ECC-BD48-B203-9FEEDCAD8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F31E1BF-5516-0441-A69F-90F33FB7B57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6041457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-7370" y="1463040"/>
            <a:ext cx="12192000" cy="4794043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93E953-A901-81BD-D2C5-2111501732C7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EE983DBA-5065-6529-7AB8-AE21490489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873CE2BF-1890-B51F-0290-2F21AA5523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03659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02000234-53E8-0EB5-64B2-5273511CE8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919F608-FE4D-0791-8EF8-C8E6397447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74470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0AD9DF82-143A-F3CC-92CA-525C0080C0C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46585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786817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384373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0AEBD8B4-D833-1BB4-AA20-4D5388B0FF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6351" y="2099039"/>
            <a:ext cx="4240152" cy="415888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F295785-1711-3186-52FD-589454E56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07D87CC-E99A-FFA2-6E6F-B2CCDCD6BE9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74355" y="2108200"/>
            <a:ext cx="6698042" cy="37410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9078076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0" y="-2"/>
            <a:ext cx="4730095" cy="6858001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DA7A9B1-EF59-8AC2-1957-FADDF5221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3744299" cy="134143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45964976-9C49-F0B2-AB57-69073CE49E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744285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344129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658799" y="1465180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EDBDB2-1C9E-6316-97DF-6FAA2F41240E}"/>
              </a:ext>
            </a:extLst>
          </p:cNvPr>
          <p:cNvSpPr/>
          <p:nvPr userDrawn="1"/>
        </p:nvSpPr>
        <p:spPr>
          <a:xfrm>
            <a:off x="5759696" y="1465179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0E61F4-928D-E47E-790C-50BA81522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768AA2AA-41C8-255D-06B8-BBFF30F8C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B090E4BE-50BA-E49B-6672-0D0B2324E7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84112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456857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18391565-978C-1B2F-4335-6E485A0F343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197507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02000234-53E8-0EB5-64B2-5273511CE8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919F608-FE4D-0791-8EF8-C8E6397447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74470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0AD9DF82-143A-F3CC-92CA-525C0080C0C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46585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31580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920A98C3-7860-1E8E-A6D8-847264A24841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362075" y="1087438"/>
            <a:ext cx="9034463" cy="4298950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622725D-1762-043F-3353-EE3AC5D4598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6153439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3547E85-ECD8-921E-B711-847582FA94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9676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06" imgH="306" progId="TCLayout.ActiveDocument.1">
                  <p:embed/>
                </p:oleObj>
              </mc:Choice>
              <mc:Fallback>
                <p:oleObj name="Diapositive think-cell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547E85-ECD8-921E-B711-847582FA94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/>
            <a:fld id="{197EC20F-E1CA-40E9-95A1-81880EA802A8}" type="slidenum">
              <a:rPr lang="en-US" smtClean="0"/>
              <a:pPr algn="r" rtl="0"/>
              <a:t>‹N°›</a:t>
            </a:fld>
            <a:endParaRPr lang="en-US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F4A2FB98-4D61-787B-243C-AE40FC8F8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16938948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A413F59-EA34-9428-A6CE-AC2C2A54FF6F}"/>
              </a:ext>
            </a:extLst>
          </p:cNvPr>
          <p:cNvSpPr/>
          <p:nvPr userDrawn="1"/>
        </p:nvSpPr>
        <p:spPr>
          <a:xfrm>
            <a:off x="0" y="3602024"/>
            <a:ext cx="12192000" cy="137457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D903D5C-600B-EDF3-EAB3-858656FE166F}"/>
              </a:ext>
            </a:extLst>
          </p:cNvPr>
          <p:cNvSpPr/>
          <p:nvPr userDrawn="1"/>
        </p:nvSpPr>
        <p:spPr>
          <a:xfrm>
            <a:off x="4980000" y="3602025"/>
            <a:ext cx="7212000" cy="452083"/>
          </a:xfrm>
          <a:prstGeom prst="rect">
            <a:avLst/>
          </a:prstGeom>
          <a:gradFill flip="none" rotWithShape="1">
            <a:gsLst>
              <a:gs pos="50000">
                <a:srgbClr val="0365D4"/>
              </a:gs>
              <a:gs pos="0">
                <a:schemeClr val="tx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976601"/>
            <a:ext cx="12192000" cy="18813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2945AF39-2E36-2BBD-B09E-34A01FD27F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742" y="2937458"/>
            <a:ext cx="2502000" cy="582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70406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5740286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489704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5416" y="3301603"/>
            <a:ext cx="11038041" cy="86383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09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725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5740286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9775" y="3362455"/>
            <a:ext cx="5403680" cy="8638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09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61702465-F9DD-0678-CBD5-60029BC2E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7620"/>
            <a:ext cx="6354762" cy="5871845"/>
          </a:xfrm>
          <a:custGeom>
            <a:avLst/>
            <a:gdLst>
              <a:gd name="connsiteX0" fmla="*/ 0 w 6354762"/>
              <a:gd name="connsiteY0" fmla="*/ 0 h 5864225"/>
              <a:gd name="connsiteX1" fmla="*/ 6354762 w 6354762"/>
              <a:gd name="connsiteY1" fmla="*/ 0 h 5864225"/>
              <a:gd name="connsiteX2" fmla="*/ 6354762 w 6354762"/>
              <a:gd name="connsiteY2" fmla="*/ 5864225 h 5864225"/>
              <a:gd name="connsiteX3" fmla="*/ 0 w 6354762"/>
              <a:gd name="connsiteY3" fmla="*/ 5864225 h 5864225"/>
              <a:gd name="connsiteX4" fmla="*/ 0 w 6354762"/>
              <a:gd name="connsiteY4" fmla="*/ 0 h 5864225"/>
              <a:gd name="connsiteX0" fmla="*/ 0 w 6354762"/>
              <a:gd name="connsiteY0" fmla="*/ 7620 h 5871845"/>
              <a:gd name="connsiteX1" fmla="*/ 479647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1552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3076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4762" h="5871845">
                <a:moveTo>
                  <a:pt x="0" y="7620"/>
                </a:moveTo>
                <a:lnTo>
                  <a:pt x="4830762" y="0"/>
                </a:lnTo>
                <a:lnTo>
                  <a:pt x="6354762" y="5871845"/>
                </a:lnTo>
                <a:lnTo>
                  <a:pt x="0" y="5871845"/>
                </a:lnTo>
                <a:lnTo>
                  <a:pt x="0" y="7620"/>
                </a:lnTo>
                <a:close/>
              </a:path>
            </a:pathLst>
          </a:cu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70975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8615" y="-2"/>
            <a:ext cx="8323385" cy="6858001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9C2D8AD-1715-506C-4C50-71A457D1B6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3" y="0"/>
            <a:ext cx="3868615" cy="685800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8E78691B-7AE2-48B1-84EE-3F3A5F3F60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67764" y="5039214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15">
            <a:extLst>
              <a:ext uri="{FF2B5EF4-FFF2-40B4-BE49-F238E27FC236}">
                <a16:creationId xmlns:a16="http://schemas.microsoft.com/office/drawing/2014/main" id="{1E77BB4D-36FB-D18C-A962-8154A27156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5122" y="5039898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26B32CC9-58AF-57F1-2652-427D03608D1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3079502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texte 15">
            <a:extLst>
              <a:ext uri="{FF2B5EF4-FFF2-40B4-BE49-F238E27FC236}">
                <a16:creationId xmlns:a16="http://schemas.microsoft.com/office/drawing/2014/main" id="{21448705-9BE5-B112-66F2-E4987C76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8031" y="5326145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685581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texte 15">
            <a:extLst>
              <a:ext uri="{FF2B5EF4-FFF2-40B4-BE49-F238E27FC236}">
                <a16:creationId xmlns:a16="http://schemas.microsoft.com/office/drawing/2014/main" id="{51C70AAC-1C75-615D-436C-EEB18130EA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8031" y="4562949"/>
            <a:ext cx="8003091" cy="157271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b="0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>
                <a:solidFill>
                  <a:schemeClr val="bg1"/>
                </a:solidFill>
              </a:defRPr>
            </a:lvl2pPr>
            <a:lvl3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3pPr>
            <a:lvl4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4pPr>
            <a:lvl5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3138488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54315" y="5171447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DBDB161D-9C5D-3E42-CE6A-7E1015B87F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567" y="5099957"/>
            <a:ext cx="6585665" cy="76426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01138A04-515B-878A-75BA-1E1A339BCAE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6117537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59AFCB35-0403-6FEF-D822-BAEB9AAC5B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48700" y="0"/>
            <a:ext cx="3543300" cy="6257925"/>
          </a:xfrm>
          <a:custGeom>
            <a:avLst/>
            <a:gdLst>
              <a:gd name="connsiteX0" fmla="*/ 0 w 3543300"/>
              <a:gd name="connsiteY0" fmla="*/ 0 h 6257925"/>
              <a:gd name="connsiteX1" fmla="*/ 3543300 w 3543300"/>
              <a:gd name="connsiteY1" fmla="*/ 0 h 6257925"/>
              <a:gd name="connsiteX2" fmla="*/ 3543300 w 3543300"/>
              <a:gd name="connsiteY2" fmla="*/ 6086281 h 6257925"/>
              <a:gd name="connsiteX3" fmla="*/ 699300 w 3543300"/>
              <a:gd name="connsiteY3" fmla="*/ 6086281 h 6257925"/>
              <a:gd name="connsiteX4" fmla="*/ 699300 w 3543300"/>
              <a:gd name="connsiteY4" fmla="*/ 6257083 h 6257925"/>
              <a:gd name="connsiteX5" fmla="*/ 3543300 w 3543300"/>
              <a:gd name="connsiteY5" fmla="*/ 6257083 h 6257925"/>
              <a:gd name="connsiteX6" fmla="*/ 3543300 w 3543300"/>
              <a:gd name="connsiteY6" fmla="*/ 6257925 h 6257925"/>
              <a:gd name="connsiteX7" fmla="*/ 0 w 3543300"/>
              <a:gd name="connsiteY7" fmla="*/ 6257925 h 6257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43300" h="6257925">
                <a:moveTo>
                  <a:pt x="0" y="0"/>
                </a:moveTo>
                <a:lnTo>
                  <a:pt x="3543300" y="0"/>
                </a:lnTo>
                <a:lnTo>
                  <a:pt x="3543300" y="6086281"/>
                </a:lnTo>
                <a:lnTo>
                  <a:pt x="699300" y="6086281"/>
                </a:lnTo>
                <a:lnTo>
                  <a:pt x="699300" y="6257083"/>
                </a:lnTo>
                <a:lnTo>
                  <a:pt x="3543300" y="6257083"/>
                </a:lnTo>
                <a:lnTo>
                  <a:pt x="3543300" y="6257925"/>
                </a:lnTo>
                <a:lnTo>
                  <a:pt x="0" y="625792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6BA7766B-92C4-BD21-9512-02F641AFA35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2A6459AD-62E4-7394-B1C8-3BAC043A1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788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20C4426-C117-DEA8-27FE-4478B40246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8813" y="1841500"/>
            <a:ext cx="7888287" cy="44084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694183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050854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6CB50D1-4DE1-5F46-1888-8A2C8C75C76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8A4F1AA1-ED3F-E1DD-5DE5-9B2FC7A8C08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C3A3A5D0-AA12-6B2B-3FD5-187FB5F7B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9">
            <a:extLst>
              <a:ext uri="{FF2B5EF4-FFF2-40B4-BE49-F238E27FC236}">
                <a16:creationId xmlns:a16="http://schemas.microsoft.com/office/drawing/2014/main" id="{6B26703F-F8BD-6CC0-4018-915E90FAFA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5505234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3391011" cy="62579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851148D5-F814-03B8-D42F-D36338D4D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4685" y="749300"/>
            <a:ext cx="8227711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1014185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090737"/>
            <a:ext cx="3391011" cy="4167187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FA8B9CA-B0C9-4E89-1BF3-35B6F10DC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77659013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e de titre">
    <p:bg>
      <p:bgPr>
        <a:solidFill>
          <a:schemeClr val="bg2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C0D2B5A7-C0D8-D75E-1523-5F65B65C974D}"/>
              </a:ext>
            </a:extLst>
          </p:cNvPr>
          <p:cNvSpPr/>
          <p:nvPr userDrawn="1"/>
        </p:nvSpPr>
        <p:spPr>
          <a:xfrm>
            <a:off x="8479355" y="387089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B25BF9-A278-758A-9CC2-F8E17BA2847B}"/>
              </a:ext>
            </a:extLst>
          </p:cNvPr>
          <p:cNvSpPr/>
          <p:nvPr userDrawn="1"/>
        </p:nvSpPr>
        <p:spPr>
          <a:xfrm>
            <a:off x="8472321" y="146056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4B227E3-ED2F-17F9-677C-90D813754385}"/>
              </a:ext>
            </a:extLst>
          </p:cNvPr>
          <p:cNvSpPr/>
          <p:nvPr userDrawn="1"/>
        </p:nvSpPr>
        <p:spPr>
          <a:xfrm>
            <a:off x="3227446" y="386620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48F2C4-0D1C-BF29-6466-89B62A36C966}"/>
              </a:ext>
            </a:extLst>
          </p:cNvPr>
          <p:cNvSpPr/>
          <p:nvPr userDrawn="1"/>
        </p:nvSpPr>
        <p:spPr>
          <a:xfrm>
            <a:off x="3220412" y="145587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489" y="1455876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504D176-9365-C4EC-194B-9D1D0889E7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5026" y="3852718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pour une image  2">
            <a:extLst>
              <a:ext uri="{FF2B5EF4-FFF2-40B4-BE49-F238E27FC236}">
                <a16:creationId xmlns:a16="http://schemas.microsoft.com/office/drawing/2014/main" id="{F8ECD786-5F3E-66BE-6167-7FDA8A0DC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37467" y="1460490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015FFF62-038F-DFBD-3A5D-EAA91157EB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939004" y="3857332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EAD8A23E-04F1-12EF-E55B-4AF40B65F6D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7CBD5A17-C25A-D285-E8D1-A69222DE2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9">
            <a:extLst>
              <a:ext uri="{FF2B5EF4-FFF2-40B4-BE49-F238E27FC236}">
                <a16:creationId xmlns:a16="http://schemas.microsoft.com/office/drawing/2014/main" id="{0D68BCA5-9441-D4B4-67B2-ACB415DD89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96348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7922A806-3050-6216-8467-8A8F7E9309A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96348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1" name="Espace réservé du texte 9">
            <a:extLst>
              <a:ext uri="{FF2B5EF4-FFF2-40B4-BE49-F238E27FC236}">
                <a16:creationId xmlns:a16="http://schemas.microsoft.com/office/drawing/2014/main" id="{565E36FC-49D5-6755-6DBD-1E4F4A6B380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536005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2" name="Espace réservé du texte 9">
            <a:extLst>
              <a:ext uri="{FF2B5EF4-FFF2-40B4-BE49-F238E27FC236}">
                <a16:creationId xmlns:a16="http://schemas.microsoft.com/office/drawing/2014/main" id="{88C19381-CEB1-4BE8-5E02-166049BF744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36005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94936780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876D64BD-3DB0-0543-8F14-0E172C5E60C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09853" y="0"/>
            <a:ext cx="5782147" cy="6255544"/>
          </a:xfrm>
          <a:custGeom>
            <a:avLst/>
            <a:gdLst>
              <a:gd name="connsiteX0" fmla="*/ 0 w 5782147"/>
              <a:gd name="connsiteY0" fmla="*/ 0 h 6255544"/>
              <a:gd name="connsiteX1" fmla="*/ 5782147 w 5782147"/>
              <a:gd name="connsiteY1" fmla="*/ 0 h 6255544"/>
              <a:gd name="connsiteX2" fmla="*/ 5782147 w 5782147"/>
              <a:gd name="connsiteY2" fmla="*/ 6086281 h 6255544"/>
              <a:gd name="connsiteX3" fmla="*/ 2938147 w 5782147"/>
              <a:gd name="connsiteY3" fmla="*/ 6086281 h 6255544"/>
              <a:gd name="connsiteX4" fmla="*/ 2938147 w 5782147"/>
              <a:gd name="connsiteY4" fmla="*/ 6255544 h 6255544"/>
              <a:gd name="connsiteX5" fmla="*/ 0 w 5782147"/>
              <a:gd name="connsiteY5" fmla="*/ 6255544 h 6255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82147" h="6255544">
                <a:moveTo>
                  <a:pt x="0" y="0"/>
                </a:moveTo>
                <a:lnTo>
                  <a:pt x="5782147" y="0"/>
                </a:lnTo>
                <a:lnTo>
                  <a:pt x="5782147" y="6086281"/>
                </a:lnTo>
                <a:lnTo>
                  <a:pt x="2938147" y="6086281"/>
                </a:lnTo>
                <a:lnTo>
                  <a:pt x="2938147" y="6255544"/>
                </a:lnTo>
                <a:lnTo>
                  <a:pt x="0" y="6255544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9E50CB6E-2DE4-D19F-9231-9EA4C833DAF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921E50DF-DE8F-807A-0850-1748D7B831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85D031EE-AA2B-B220-2EC5-D23A7A963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62086342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D8480E7-2ECC-BD48-B203-9FEEDCAD8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F31E1BF-5516-0441-A69F-90F33FB7B57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558650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-7370" y="1463040"/>
            <a:ext cx="12192000" cy="4794043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93E953-A901-81BD-D2C5-2111501732C7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EE983DBA-5065-6529-7AB8-AE21490489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873CE2BF-1890-B51F-0290-2F21AA5523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773203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02000234-53E8-0EB5-64B2-5273511CE8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919F608-FE4D-0791-8EF8-C8E6397447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74470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0AD9DF82-143A-F3CC-92CA-525C0080C0C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46585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284454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504155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0AEBD8B4-D833-1BB4-AA20-4D5388B0FF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6351" y="2099039"/>
            <a:ext cx="4240152" cy="415888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F295785-1711-3186-52FD-589454E56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07D87CC-E99A-FFA2-6E6F-B2CCDCD6BE9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74355" y="2108200"/>
            <a:ext cx="6698042" cy="37410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121960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0AEBD8B4-D833-1BB4-AA20-4D5388B0FF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6351" y="2099039"/>
            <a:ext cx="4240152" cy="415888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F295785-1711-3186-52FD-589454E56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07D87CC-E99A-FFA2-6E6F-B2CCDCD6BE9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74355" y="2108200"/>
            <a:ext cx="6698042" cy="37410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85110823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0" y="-2"/>
            <a:ext cx="4730095" cy="6858001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DA7A9B1-EF59-8AC2-1957-FADDF5221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3744299" cy="134143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45964976-9C49-F0B2-AB57-69073CE49E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744285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98500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658799" y="1465180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EDBDB2-1C9E-6316-97DF-6FAA2F41240E}"/>
              </a:ext>
            </a:extLst>
          </p:cNvPr>
          <p:cNvSpPr/>
          <p:nvPr userDrawn="1"/>
        </p:nvSpPr>
        <p:spPr>
          <a:xfrm>
            <a:off x="5759696" y="1465179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0E61F4-928D-E47E-790C-50BA81522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768AA2AA-41C8-255D-06B8-BBFF30F8C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B090E4BE-50BA-E49B-6672-0D0B2324E7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84112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0968750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18391565-978C-1B2F-4335-6E485A0F343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4014605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920A98C3-7860-1E8E-A6D8-847264A24841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362075" y="1087438"/>
            <a:ext cx="9034463" cy="4298950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622725D-1762-043F-3353-EE3AC5D4598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8267713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A413F59-EA34-9428-A6CE-AC2C2A54FF6F}"/>
              </a:ext>
            </a:extLst>
          </p:cNvPr>
          <p:cNvSpPr/>
          <p:nvPr userDrawn="1"/>
        </p:nvSpPr>
        <p:spPr>
          <a:xfrm>
            <a:off x="0" y="3602024"/>
            <a:ext cx="12192000" cy="137457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D903D5C-600B-EDF3-EAB3-858656FE166F}"/>
              </a:ext>
            </a:extLst>
          </p:cNvPr>
          <p:cNvSpPr/>
          <p:nvPr userDrawn="1"/>
        </p:nvSpPr>
        <p:spPr>
          <a:xfrm>
            <a:off x="4980000" y="3602025"/>
            <a:ext cx="7212000" cy="452083"/>
          </a:xfrm>
          <a:prstGeom prst="rect">
            <a:avLst/>
          </a:prstGeom>
          <a:gradFill flip="none" rotWithShape="1">
            <a:gsLst>
              <a:gs pos="50000">
                <a:srgbClr val="0365D4"/>
              </a:gs>
              <a:gs pos="0">
                <a:schemeClr val="tx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976601"/>
            <a:ext cx="12192000" cy="18813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2945AF39-2E36-2BBD-B09E-34A01FD27F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742" y="2937458"/>
            <a:ext cx="2502000" cy="582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4791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5740286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489704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5416" y="3301603"/>
            <a:ext cx="11038041" cy="86383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09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620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5740286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9775" y="3362455"/>
            <a:ext cx="5403680" cy="8638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09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61702465-F9DD-0678-CBD5-60029BC2E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7620"/>
            <a:ext cx="6354762" cy="5871845"/>
          </a:xfrm>
          <a:custGeom>
            <a:avLst/>
            <a:gdLst>
              <a:gd name="connsiteX0" fmla="*/ 0 w 6354762"/>
              <a:gd name="connsiteY0" fmla="*/ 0 h 5864225"/>
              <a:gd name="connsiteX1" fmla="*/ 6354762 w 6354762"/>
              <a:gd name="connsiteY1" fmla="*/ 0 h 5864225"/>
              <a:gd name="connsiteX2" fmla="*/ 6354762 w 6354762"/>
              <a:gd name="connsiteY2" fmla="*/ 5864225 h 5864225"/>
              <a:gd name="connsiteX3" fmla="*/ 0 w 6354762"/>
              <a:gd name="connsiteY3" fmla="*/ 5864225 h 5864225"/>
              <a:gd name="connsiteX4" fmla="*/ 0 w 6354762"/>
              <a:gd name="connsiteY4" fmla="*/ 0 h 5864225"/>
              <a:gd name="connsiteX0" fmla="*/ 0 w 6354762"/>
              <a:gd name="connsiteY0" fmla="*/ 7620 h 5871845"/>
              <a:gd name="connsiteX1" fmla="*/ 479647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1552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3076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4762" h="5871845">
                <a:moveTo>
                  <a:pt x="0" y="7620"/>
                </a:moveTo>
                <a:lnTo>
                  <a:pt x="4830762" y="0"/>
                </a:lnTo>
                <a:lnTo>
                  <a:pt x="6354762" y="5871845"/>
                </a:lnTo>
                <a:lnTo>
                  <a:pt x="0" y="5871845"/>
                </a:lnTo>
                <a:lnTo>
                  <a:pt x="0" y="7620"/>
                </a:lnTo>
                <a:close/>
              </a:path>
            </a:pathLst>
          </a:cu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84702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0" y="-2"/>
            <a:ext cx="4730095" cy="6858001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DA7A9B1-EF59-8AC2-1957-FADDF5221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3744299" cy="134143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45964976-9C49-F0B2-AB57-69073CE49E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744285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681923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texte 15">
            <a:extLst>
              <a:ext uri="{FF2B5EF4-FFF2-40B4-BE49-F238E27FC236}">
                <a16:creationId xmlns:a16="http://schemas.microsoft.com/office/drawing/2014/main" id="{21448705-9BE5-B112-66F2-E4987C76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8031" y="5326145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928278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0E61F4-928D-E47E-790C-50BA81522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768AA2AA-41C8-255D-06B8-BBFF30F8C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B090E4BE-50BA-E49B-6672-0D0B2324E7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84112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8834668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658799" y="2090738"/>
            <a:ext cx="5834598" cy="3773487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EDBDB2-1C9E-6316-97DF-6FAA2F41240E}"/>
              </a:ext>
            </a:extLst>
          </p:cNvPr>
          <p:cNvSpPr/>
          <p:nvPr userDrawn="1"/>
        </p:nvSpPr>
        <p:spPr>
          <a:xfrm>
            <a:off x="6825849" y="2090737"/>
            <a:ext cx="4707354" cy="3773487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0E61F4-928D-E47E-790C-50BA81522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5248112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18391565-978C-1B2F-4335-6E485A0F343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256909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920A98C3-7860-1E8E-A6D8-847264A24841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362075" y="1087438"/>
            <a:ext cx="9034463" cy="4298950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622725D-1762-043F-3353-EE3AC5D4598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29801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A413F59-EA34-9428-A6CE-AC2C2A54FF6F}"/>
              </a:ext>
            </a:extLst>
          </p:cNvPr>
          <p:cNvSpPr/>
          <p:nvPr userDrawn="1"/>
        </p:nvSpPr>
        <p:spPr>
          <a:xfrm>
            <a:off x="0" y="3602024"/>
            <a:ext cx="12192000" cy="137457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D903D5C-600B-EDF3-EAB3-858656FE166F}"/>
              </a:ext>
            </a:extLst>
          </p:cNvPr>
          <p:cNvSpPr/>
          <p:nvPr userDrawn="1"/>
        </p:nvSpPr>
        <p:spPr>
          <a:xfrm>
            <a:off x="4980000" y="3602025"/>
            <a:ext cx="7212000" cy="452083"/>
          </a:xfrm>
          <a:prstGeom prst="rect">
            <a:avLst/>
          </a:prstGeom>
          <a:gradFill flip="none" rotWithShape="1">
            <a:gsLst>
              <a:gs pos="50000">
                <a:srgbClr val="0365D4"/>
              </a:gs>
              <a:gs pos="0">
                <a:schemeClr val="tx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976601"/>
            <a:ext cx="12192000" cy="18813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2945AF39-2E36-2BBD-B09E-34A01FD27F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742" y="2937458"/>
            <a:ext cx="2502000" cy="582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740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5740286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9775" y="3362455"/>
            <a:ext cx="5403680" cy="8638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09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61702465-F9DD-0678-CBD5-60029BC2E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7620"/>
            <a:ext cx="6354762" cy="5871845"/>
          </a:xfrm>
          <a:custGeom>
            <a:avLst/>
            <a:gdLst>
              <a:gd name="connsiteX0" fmla="*/ 0 w 6354762"/>
              <a:gd name="connsiteY0" fmla="*/ 0 h 5864225"/>
              <a:gd name="connsiteX1" fmla="*/ 6354762 w 6354762"/>
              <a:gd name="connsiteY1" fmla="*/ 0 h 5864225"/>
              <a:gd name="connsiteX2" fmla="*/ 6354762 w 6354762"/>
              <a:gd name="connsiteY2" fmla="*/ 5864225 h 5864225"/>
              <a:gd name="connsiteX3" fmla="*/ 0 w 6354762"/>
              <a:gd name="connsiteY3" fmla="*/ 5864225 h 5864225"/>
              <a:gd name="connsiteX4" fmla="*/ 0 w 6354762"/>
              <a:gd name="connsiteY4" fmla="*/ 0 h 5864225"/>
              <a:gd name="connsiteX0" fmla="*/ 0 w 6354762"/>
              <a:gd name="connsiteY0" fmla="*/ 7620 h 5871845"/>
              <a:gd name="connsiteX1" fmla="*/ 479647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1552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3076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4762" h="5871845">
                <a:moveTo>
                  <a:pt x="0" y="7620"/>
                </a:moveTo>
                <a:lnTo>
                  <a:pt x="4830762" y="0"/>
                </a:lnTo>
                <a:lnTo>
                  <a:pt x="6354762" y="5871845"/>
                </a:lnTo>
                <a:lnTo>
                  <a:pt x="0" y="5871845"/>
                </a:lnTo>
                <a:lnTo>
                  <a:pt x="0" y="7620"/>
                </a:lnTo>
                <a:close/>
              </a:path>
            </a:pathLst>
          </a:cu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6476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658799" y="1465180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EDBDB2-1C9E-6316-97DF-6FAA2F41240E}"/>
              </a:ext>
            </a:extLst>
          </p:cNvPr>
          <p:cNvSpPr/>
          <p:nvPr userDrawn="1"/>
        </p:nvSpPr>
        <p:spPr>
          <a:xfrm>
            <a:off x="5759696" y="1465179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0E61F4-928D-E47E-790C-50BA81522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768AA2AA-41C8-255D-06B8-BBFF30F8C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B090E4BE-50BA-E49B-6672-0D0B2324E7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84112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907423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texte, plane&#10;&#10;Description générée automatiquement">
            <a:extLst>
              <a:ext uri="{FF2B5EF4-FFF2-40B4-BE49-F238E27FC236}">
                <a16:creationId xmlns:a16="http://schemas.microsoft.com/office/drawing/2014/main" id="{166CBEE3-003B-A625-C228-C68557C8B6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5633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66CBEE3-003B-A625-C228-C68557C8B6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5625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8615" y="-2"/>
            <a:ext cx="8323385" cy="6858001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9C2D8AD-1715-506C-4C50-71A457D1B6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3" y="0"/>
            <a:ext cx="3868615" cy="685800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8E78691B-7AE2-48B1-84EE-3F3A5F3F60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67764" y="5420214"/>
            <a:ext cx="2670401" cy="8645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15">
            <a:extLst>
              <a:ext uri="{FF2B5EF4-FFF2-40B4-BE49-F238E27FC236}">
                <a16:creationId xmlns:a16="http://schemas.microsoft.com/office/drawing/2014/main" id="{1E77BB4D-36FB-D18C-A962-8154A27156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5122" y="5326145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26B32CC9-58AF-57F1-2652-427D03608D1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12647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texte 15">
            <a:extLst>
              <a:ext uri="{FF2B5EF4-FFF2-40B4-BE49-F238E27FC236}">
                <a16:creationId xmlns:a16="http://schemas.microsoft.com/office/drawing/2014/main" id="{51C70AAC-1C75-615D-436C-EEB18130EA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8031" y="4562949"/>
            <a:ext cx="8003091" cy="157271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b="0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>
                <a:solidFill>
                  <a:schemeClr val="bg1"/>
                </a:solidFill>
              </a:defRPr>
            </a:lvl2pPr>
            <a:lvl3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3pPr>
            <a:lvl4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4pPr>
            <a:lvl5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29295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texte 15">
            <a:extLst>
              <a:ext uri="{FF2B5EF4-FFF2-40B4-BE49-F238E27FC236}">
                <a16:creationId xmlns:a16="http://schemas.microsoft.com/office/drawing/2014/main" id="{21448705-9BE5-B112-66F2-E4987C76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8031" y="5326145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886134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texte 15">
            <a:extLst>
              <a:ext uri="{FF2B5EF4-FFF2-40B4-BE49-F238E27FC236}">
                <a16:creationId xmlns:a16="http://schemas.microsoft.com/office/drawing/2014/main" id="{51C70AAC-1C75-615D-436C-EEB18130EA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8031" y="4562949"/>
            <a:ext cx="8003091" cy="157271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b="0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>
                <a:solidFill>
                  <a:schemeClr val="bg1"/>
                </a:solidFill>
              </a:defRPr>
            </a:lvl2pPr>
            <a:lvl3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3pPr>
            <a:lvl4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4pPr>
            <a:lvl5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52171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833001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9C2D8AD-1715-506C-4C50-71A457D1B6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37154" y="0"/>
            <a:ext cx="3868615" cy="685800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16215" y="5420214"/>
            <a:ext cx="2670401" cy="8645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CC4C364E-8C8D-E92C-A343-35013E70E5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8031" y="5326145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D053360C-2C4F-9F93-8EEF-80DA4DFD3B55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948334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16215" y="5222247"/>
            <a:ext cx="2670401" cy="8645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DBDB161D-9C5D-3E42-CE6A-7E1015B87F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567" y="5322013"/>
            <a:ext cx="6585665" cy="76426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pic>
        <p:nvPicPr>
          <p:cNvPr id="12" name="Image 11" descr="Une image contenant texte&#10;&#10;Description générée automatiquement">
            <a:extLst>
              <a:ext uri="{FF2B5EF4-FFF2-40B4-BE49-F238E27FC236}">
                <a16:creationId xmlns:a16="http://schemas.microsoft.com/office/drawing/2014/main" id="{67F0B7D9-4138-62F6-731D-2C0E41427C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21E93E2-4A2D-AA26-4C2E-4D7DE9A33B2D}"/>
              </a:ext>
            </a:extLst>
          </p:cNvPr>
          <p:cNvSpPr/>
          <p:nvPr userDrawn="1"/>
        </p:nvSpPr>
        <p:spPr>
          <a:xfrm>
            <a:off x="934325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01138A04-515B-878A-75BA-1E1A339BCAE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162981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48700" y="0"/>
            <a:ext cx="3543300" cy="6249371"/>
          </a:xfrm>
          <a:custGeom>
            <a:avLst/>
            <a:gdLst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3300 w 3543300"/>
              <a:gd name="connsiteY2" fmla="*/ 6248400 h 6248400"/>
              <a:gd name="connsiteX3" fmla="*/ 0 w 3543300"/>
              <a:gd name="connsiteY3" fmla="*/ 6248400 h 6248400"/>
              <a:gd name="connsiteX4" fmla="*/ 0 w 3543300"/>
              <a:gd name="connsiteY4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0 w 3543300"/>
              <a:gd name="connsiteY3" fmla="*/ 6248400 h 6248400"/>
              <a:gd name="connsiteX4" fmla="*/ 0 w 3543300"/>
              <a:gd name="connsiteY4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67114 w 3543300"/>
              <a:gd name="connsiteY3" fmla="*/ 6217338 h 6248400"/>
              <a:gd name="connsiteX4" fmla="*/ 0 w 3543300"/>
              <a:gd name="connsiteY4" fmla="*/ 6248400 h 6248400"/>
              <a:gd name="connsiteX5" fmla="*/ 0 w 3543300"/>
              <a:gd name="connsiteY5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87499 w 3543300"/>
              <a:gd name="connsiteY3" fmla="*/ 6089206 h 6248400"/>
              <a:gd name="connsiteX4" fmla="*/ 0 w 3543300"/>
              <a:gd name="connsiteY4" fmla="*/ 6248400 h 6248400"/>
              <a:gd name="connsiteX5" fmla="*/ 0 w 3543300"/>
              <a:gd name="connsiteY5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87499 w 3543300"/>
              <a:gd name="connsiteY3" fmla="*/ 6089206 h 6248400"/>
              <a:gd name="connsiteX4" fmla="*/ 410849 w 3543300"/>
              <a:gd name="connsiteY4" fmla="*/ 6156183 h 6248400"/>
              <a:gd name="connsiteX5" fmla="*/ 0 w 3543300"/>
              <a:gd name="connsiteY5" fmla="*/ 6248400 h 6248400"/>
              <a:gd name="connsiteX6" fmla="*/ 0 w 3543300"/>
              <a:gd name="connsiteY6" fmla="*/ 0 h 6248400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687499 w 3543300"/>
              <a:gd name="connsiteY3" fmla="*/ 6089206 h 6249371"/>
              <a:gd name="connsiteX4" fmla="*/ 699147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696235 w 3543300"/>
              <a:gd name="connsiteY3" fmla="*/ 6086294 h 6249371"/>
              <a:gd name="connsiteX4" fmla="*/ 699147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43300" h="6249371">
                <a:moveTo>
                  <a:pt x="0" y="0"/>
                </a:moveTo>
                <a:lnTo>
                  <a:pt x="3543300" y="0"/>
                </a:lnTo>
                <a:lnTo>
                  <a:pt x="3540387" y="6088234"/>
                </a:lnTo>
                <a:lnTo>
                  <a:pt x="696235" y="6086294"/>
                </a:lnTo>
                <a:cubicBezTo>
                  <a:pt x="697206" y="6140653"/>
                  <a:pt x="698176" y="6195012"/>
                  <a:pt x="699147" y="6249371"/>
                </a:cubicBezTo>
                <a:lnTo>
                  <a:pt x="0" y="6248400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782843"/>
            <a:ext cx="7872357" cy="7071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12" name="Image 11" descr="Une image contenant texte&#10;&#10;Description générée automatiquement">
            <a:extLst>
              <a:ext uri="{FF2B5EF4-FFF2-40B4-BE49-F238E27FC236}">
                <a16:creationId xmlns:a16="http://schemas.microsoft.com/office/drawing/2014/main" id="{8F3A6018-B9BD-CDC2-CFAA-43C9C63D09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4EFA0C5-AD06-31EA-17D3-B58EDCBFD676}"/>
              </a:ext>
            </a:extLst>
          </p:cNvPr>
          <p:cNvSpPr/>
          <p:nvPr userDrawn="1"/>
        </p:nvSpPr>
        <p:spPr>
          <a:xfrm>
            <a:off x="9340630" y="6077137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6BA7766B-92C4-BD21-9512-02F641AFA35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04384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6CB50D1-4DE1-5F46-1888-8A2C8C75C76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800" y="782843"/>
            <a:ext cx="5328059" cy="7071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" name="Espace réservé du texte 15">
            <a:extLst>
              <a:ext uri="{FF2B5EF4-FFF2-40B4-BE49-F238E27FC236}">
                <a16:creationId xmlns:a16="http://schemas.microsoft.com/office/drawing/2014/main" id="{B0495C30-A109-9D35-1814-A24BDC85110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35" y="1848250"/>
            <a:ext cx="5328059" cy="3540207"/>
          </a:xfrm>
          <a:prstGeom prst="rect">
            <a:avLst/>
          </a:prstGeom>
        </p:spPr>
        <p:txBody>
          <a:bodyPr lIns="0" tIns="0" rIns="0" bIns="0"/>
          <a:lstStyle>
            <a:lvl1pPr marL="144000" indent="-144000">
              <a:lnSpc>
                <a:spcPts val="1700"/>
              </a:lnSpc>
              <a:spcBef>
                <a:spcPts val="0"/>
              </a:spcBef>
              <a:spcAft>
                <a:spcPts val="160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6F1B9F65-B821-C5EF-6586-FB500E5AE8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366C0F0-D38A-7996-1CA3-52D87224E216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8686559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800" y="782843"/>
            <a:ext cx="10925945" cy="58875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96351" y="1399734"/>
            <a:ext cx="2694660" cy="4687578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pic>
        <p:nvPicPr>
          <p:cNvPr id="4" name="Imag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C941EFE2-D814-392F-03C8-15998BFA6E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93C57F8-DA0A-A30D-36D9-9168B9773F79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944177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e de titre">
    <p:bg>
      <p:bgPr>
        <a:solidFill>
          <a:schemeClr val="bg2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C0D2B5A7-C0D8-D75E-1523-5F65B65C974D}"/>
              </a:ext>
            </a:extLst>
          </p:cNvPr>
          <p:cNvSpPr/>
          <p:nvPr userDrawn="1"/>
        </p:nvSpPr>
        <p:spPr>
          <a:xfrm>
            <a:off x="8479355" y="387089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B25BF9-A278-758A-9CC2-F8E17BA2847B}"/>
              </a:ext>
            </a:extLst>
          </p:cNvPr>
          <p:cNvSpPr/>
          <p:nvPr userDrawn="1"/>
        </p:nvSpPr>
        <p:spPr>
          <a:xfrm>
            <a:off x="8472321" y="146056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4B227E3-ED2F-17F9-677C-90D813754385}"/>
              </a:ext>
            </a:extLst>
          </p:cNvPr>
          <p:cNvSpPr/>
          <p:nvPr userDrawn="1"/>
        </p:nvSpPr>
        <p:spPr>
          <a:xfrm>
            <a:off x="3227446" y="386620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48F2C4-0D1C-BF29-6466-89B62A36C966}"/>
              </a:ext>
            </a:extLst>
          </p:cNvPr>
          <p:cNvSpPr/>
          <p:nvPr userDrawn="1"/>
        </p:nvSpPr>
        <p:spPr>
          <a:xfrm>
            <a:off x="3220412" y="145587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800" y="782843"/>
            <a:ext cx="10925945" cy="58875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489" y="1455876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504D176-9365-C4EC-194B-9D1D0889E7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5026" y="3852718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pour une image  2">
            <a:extLst>
              <a:ext uri="{FF2B5EF4-FFF2-40B4-BE49-F238E27FC236}">
                <a16:creationId xmlns:a16="http://schemas.microsoft.com/office/drawing/2014/main" id="{F8ECD786-5F3E-66BE-6167-7FDA8A0DC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37467" y="1460490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015FFF62-038F-DFBD-3A5D-EAA91157EB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939004" y="3857332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3" name="Espace réservé du texte 15">
            <a:extLst>
              <a:ext uri="{FF2B5EF4-FFF2-40B4-BE49-F238E27FC236}">
                <a16:creationId xmlns:a16="http://schemas.microsoft.com/office/drawing/2014/main" id="{4CDC0DEA-29CA-A3A6-50C7-CD947F1C237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47078" y="2048273"/>
            <a:ext cx="2310257" cy="1578136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44000" indent="-144000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3pPr>
            <a:lvl4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6F250A55-18C5-E9C8-97F7-893188274C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54112" y="4458603"/>
            <a:ext cx="2310257" cy="1578136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44000" indent="-144000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D452E9E9-BA59-80BB-08CA-5969FC82B6C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98987" y="2052959"/>
            <a:ext cx="2310257" cy="1578136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44000" indent="-144000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0" name="Espace réservé du texte 15">
            <a:extLst>
              <a:ext uri="{FF2B5EF4-FFF2-40B4-BE49-F238E27FC236}">
                <a16:creationId xmlns:a16="http://schemas.microsoft.com/office/drawing/2014/main" id="{775C9F0C-BB31-2C53-05BB-BA444576735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706021" y="4463289"/>
            <a:ext cx="2310257" cy="1578136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44000" indent="-144000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10" name="Image 9" descr="Une image contenant texte&#10;&#10;Description générée automatiquement">
            <a:extLst>
              <a:ext uri="{FF2B5EF4-FFF2-40B4-BE49-F238E27FC236}">
                <a16:creationId xmlns:a16="http://schemas.microsoft.com/office/drawing/2014/main" id="{6399DDF4-3C33-B0C2-540A-42A3505344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FAA85C1-102B-9F9E-28C0-2640E85C838F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EAD8A23E-04F1-12EF-E55B-4AF40B65F6D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26097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09853" y="0"/>
            <a:ext cx="5782147" cy="6249371"/>
          </a:xfrm>
          <a:custGeom>
            <a:avLst/>
            <a:gdLst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3300 w 3543300"/>
              <a:gd name="connsiteY2" fmla="*/ 6248400 h 6248400"/>
              <a:gd name="connsiteX3" fmla="*/ 0 w 3543300"/>
              <a:gd name="connsiteY3" fmla="*/ 6248400 h 6248400"/>
              <a:gd name="connsiteX4" fmla="*/ 0 w 3543300"/>
              <a:gd name="connsiteY4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0 w 3543300"/>
              <a:gd name="connsiteY3" fmla="*/ 6248400 h 6248400"/>
              <a:gd name="connsiteX4" fmla="*/ 0 w 3543300"/>
              <a:gd name="connsiteY4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67114 w 3543300"/>
              <a:gd name="connsiteY3" fmla="*/ 6217338 h 6248400"/>
              <a:gd name="connsiteX4" fmla="*/ 0 w 3543300"/>
              <a:gd name="connsiteY4" fmla="*/ 6248400 h 6248400"/>
              <a:gd name="connsiteX5" fmla="*/ 0 w 3543300"/>
              <a:gd name="connsiteY5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87499 w 3543300"/>
              <a:gd name="connsiteY3" fmla="*/ 6089206 h 6248400"/>
              <a:gd name="connsiteX4" fmla="*/ 0 w 3543300"/>
              <a:gd name="connsiteY4" fmla="*/ 6248400 h 6248400"/>
              <a:gd name="connsiteX5" fmla="*/ 0 w 3543300"/>
              <a:gd name="connsiteY5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87499 w 3543300"/>
              <a:gd name="connsiteY3" fmla="*/ 6089206 h 6248400"/>
              <a:gd name="connsiteX4" fmla="*/ 410849 w 3543300"/>
              <a:gd name="connsiteY4" fmla="*/ 6156183 h 6248400"/>
              <a:gd name="connsiteX5" fmla="*/ 0 w 3543300"/>
              <a:gd name="connsiteY5" fmla="*/ 6248400 h 6248400"/>
              <a:gd name="connsiteX6" fmla="*/ 0 w 3543300"/>
              <a:gd name="connsiteY6" fmla="*/ 0 h 6248400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687499 w 3543300"/>
              <a:gd name="connsiteY3" fmla="*/ 6089206 h 6249371"/>
              <a:gd name="connsiteX4" fmla="*/ 699147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696235 w 3543300"/>
              <a:gd name="connsiteY3" fmla="*/ 6086294 h 6249371"/>
              <a:gd name="connsiteX4" fmla="*/ 699147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1806611 w 3543300"/>
              <a:gd name="connsiteY3" fmla="*/ 6086294 h 6249371"/>
              <a:gd name="connsiteX4" fmla="*/ 699147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1806611 w 3543300"/>
              <a:gd name="connsiteY3" fmla="*/ 6086294 h 6249371"/>
              <a:gd name="connsiteX4" fmla="*/ 1807804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1803173 w 3543300"/>
              <a:gd name="connsiteY3" fmla="*/ 6086294 h 6249371"/>
              <a:gd name="connsiteX4" fmla="*/ 1807804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1803173 w 3543300"/>
              <a:gd name="connsiteY3" fmla="*/ 6086294 h 6249371"/>
              <a:gd name="connsiteX4" fmla="*/ 1800929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43300" h="6249371">
                <a:moveTo>
                  <a:pt x="0" y="0"/>
                </a:moveTo>
                <a:lnTo>
                  <a:pt x="3543300" y="0"/>
                </a:lnTo>
                <a:lnTo>
                  <a:pt x="3540387" y="6088234"/>
                </a:lnTo>
                <a:lnTo>
                  <a:pt x="1803173" y="6086294"/>
                </a:lnTo>
                <a:cubicBezTo>
                  <a:pt x="1804144" y="6140653"/>
                  <a:pt x="1799958" y="6195012"/>
                  <a:pt x="1800929" y="6249371"/>
                </a:cubicBezTo>
                <a:lnTo>
                  <a:pt x="0" y="6248400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782843"/>
            <a:ext cx="5437201" cy="7071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55455214-5023-D42B-32AE-9A36B3A055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8799" y="2123416"/>
            <a:ext cx="5328059" cy="3540207"/>
          </a:xfrm>
          <a:prstGeom prst="rect">
            <a:avLst/>
          </a:prstGeom>
        </p:spPr>
        <p:txBody>
          <a:bodyPr lIns="0" tIns="0" rIns="0" bIns="0"/>
          <a:lstStyle>
            <a:lvl1pPr marL="144000" indent="-144000">
              <a:lnSpc>
                <a:spcPts val="17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266700" indent="-171450">
              <a:lnSpc>
                <a:spcPts val="1700"/>
              </a:lnSpc>
              <a:spcBef>
                <a:spcPts val="0"/>
              </a:spcBef>
              <a:buFont typeface="Manrope" pitchFamily="2" charset="0"/>
              <a:buChar char="•"/>
              <a:defRPr sz="1000"/>
            </a:lvl2pPr>
            <a:lvl3pPr marL="144000" indent="-144000">
              <a:lnSpc>
                <a:spcPts val="1700"/>
              </a:lnSpc>
              <a:spcBef>
                <a:spcPts val="1600"/>
              </a:spcBef>
              <a:buClr>
                <a:schemeClr val="tx2"/>
              </a:buClr>
              <a:buFont typeface="Manrope" pitchFamily="2" charset="0"/>
              <a:buChar char="•"/>
              <a:defRPr sz="1000" b="1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1A9A9331-0CD2-86F7-5978-8F70A9CEF9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4183903-E879-30B9-96C4-81B7E532A35E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9E50CB6E-2DE4-D19F-9231-9EA4C833DAF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87704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782843"/>
            <a:ext cx="11249916" cy="5029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393505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54315" y="5171447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DBDB161D-9C5D-3E42-CE6A-7E1015B87F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567" y="5099957"/>
            <a:ext cx="6585665" cy="76426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01138A04-515B-878A-75BA-1E1A339BCAE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84775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1368059"/>
            <a:ext cx="11249916" cy="5029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0" y="-1"/>
            <a:ext cx="12192000" cy="630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exte 15">
            <a:extLst>
              <a:ext uri="{FF2B5EF4-FFF2-40B4-BE49-F238E27FC236}">
                <a16:creationId xmlns:a16="http://schemas.microsoft.com/office/drawing/2014/main" id="{27E47DD0-D586-8FBB-8ED0-C9FAC0DC0B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0560" y="314999"/>
            <a:ext cx="5665470" cy="2158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922790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1368059"/>
            <a:ext cx="11249916" cy="5029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0" y="-1"/>
            <a:ext cx="12192000" cy="630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exte 15">
            <a:extLst>
              <a:ext uri="{FF2B5EF4-FFF2-40B4-BE49-F238E27FC236}">
                <a16:creationId xmlns:a16="http://schemas.microsoft.com/office/drawing/2014/main" id="{27E47DD0-D586-8FBB-8ED0-C9FAC0DC0B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0560" y="314999"/>
            <a:ext cx="5665470" cy="2158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5">
            <a:extLst>
              <a:ext uri="{FF2B5EF4-FFF2-40B4-BE49-F238E27FC236}">
                <a16:creationId xmlns:a16="http://schemas.microsoft.com/office/drawing/2014/main" id="{4EEFBE55-73F4-3627-94B7-AC49EFFCFE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19373" y="2099039"/>
            <a:ext cx="5367080" cy="3682049"/>
          </a:xfrm>
          <a:prstGeom prst="rect">
            <a:avLst/>
          </a:prstGeom>
        </p:spPr>
        <p:txBody>
          <a:bodyPr lIns="0" tIns="0" rIns="0" bIns="0" numCol="2" spcCol="360000"/>
          <a:lstStyle>
            <a:lvl1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0AEBD8B4-D833-1BB4-AA20-4D5388B0FF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6351" y="2139885"/>
            <a:ext cx="4240152" cy="360103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21428875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0" y="-2"/>
            <a:ext cx="4730095" cy="6858001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775211"/>
            <a:ext cx="3109333" cy="53110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spcAft>
                <a:spcPts val="1400"/>
              </a:spcAft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700"/>
              </a:lnSpc>
              <a:spcBef>
                <a:spcPts val="1600"/>
              </a:spcBef>
              <a:buFontTx/>
              <a:buNone/>
              <a:defRPr sz="1000" b="1" cap="all" baseline="0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15105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1368059"/>
            <a:ext cx="11249916" cy="5029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0" y="-1"/>
            <a:ext cx="12192000" cy="630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exte 15">
            <a:extLst>
              <a:ext uri="{FF2B5EF4-FFF2-40B4-BE49-F238E27FC236}">
                <a16:creationId xmlns:a16="http://schemas.microsoft.com/office/drawing/2014/main" id="{27E47DD0-D586-8FBB-8ED0-C9FAC0DC0B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0560" y="314999"/>
            <a:ext cx="5665470" cy="2158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5">
            <a:extLst>
              <a:ext uri="{FF2B5EF4-FFF2-40B4-BE49-F238E27FC236}">
                <a16:creationId xmlns:a16="http://schemas.microsoft.com/office/drawing/2014/main" id="{4EEFBE55-73F4-3627-94B7-AC49EFFCFE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41778" y="3659906"/>
            <a:ext cx="1423639" cy="2123488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0AEBD8B4-D833-1BB4-AA20-4D5388B0FF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6351" y="2139885"/>
            <a:ext cx="4240152" cy="360103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1" name="Espace réservé du texte 15">
            <a:extLst>
              <a:ext uri="{FF2B5EF4-FFF2-40B4-BE49-F238E27FC236}">
                <a16:creationId xmlns:a16="http://schemas.microsoft.com/office/drawing/2014/main" id="{64997836-CA4C-F089-615E-D1E64024445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96202" y="3659906"/>
            <a:ext cx="1423639" cy="2123488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CD4069A9-4BF3-0D1C-3FC1-88CDEC5831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558818" y="3659906"/>
            <a:ext cx="1423639" cy="2123488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3309951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691563" y="1344706"/>
            <a:ext cx="4707354" cy="4741575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EDBDB2-1C9E-6316-97DF-6FAA2F41240E}"/>
              </a:ext>
            </a:extLst>
          </p:cNvPr>
          <p:cNvSpPr/>
          <p:nvPr userDrawn="1"/>
        </p:nvSpPr>
        <p:spPr>
          <a:xfrm>
            <a:off x="5792460" y="1344705"/>
            <a:ext cx="4707354" cy="4741575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9" name="Espace réservé du texte 15">
            <a:extLst>
              <a:ext uri="{FF2B5EF4-FFF2-40B4-BE49-F238E27FC236}">
                <a16:creationId xmlns:a16="http://schemas.microsoft.com/office/drawing/2014/main" id="{C0EAE004-002E-F843-0420-8EF43DD22B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784075"/>
            <a:ext cx="11249916" cy="5029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0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929239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A413F59-EA34-9428-A6CE-AC2C2A54FF6F}"/>
              </a:ext>
            </a:extLst>
          </p:cNvPr>
          <p:cNvSpPr/>
          <p:nvPr userDrawn="1"/>
        </p:nvSpPr>
        <p:spPr>
          <a:xfrm>
            <a:off x="0" y="3602024"/>
            <a:ext cx="12192000" cy="137457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D903D5C-600B-EDF3-EAB3-858656FE166F}"/>
              </a:ext>
            </a:extLst>
          </p:cNvPr>
          <p:cNvSpPr/>
          <p:nvPr userDrawn="1"/>
        </p:nvSpPr>
        <p:spPr>
          <a:xfrm>
            <a:off x="4980000" y="3602025"/>
            <a:ext cx="7212000" cy="452083"/>
          </a:xfrm>
          <a:prstGeom prst="rect">
            <a:avLst/>
          </a:prstGeom>
          <a:gradFill flip="none" rotWithShape="1">
            <a:gsLst>
              <a:gs pos="50000">
                <a:srgbClr val="0365D4"/>
              </a:gs>
              <a:gs pos="0">
                <a:schemeClr val="tx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976601"/>
            <a:ext cx="12192000" cy="18813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2945AF39-2E36-2BBD-B09E-34A01FD27F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742" y="2937458"/>
            <a:ext cx="2502000" cy="582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32545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7802ACD8-86B2-D190-C0F0-88871E38CB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E741E1E-0471-169E-72F4-B55B1395228B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18391565-978C-1B2F-4335-6E485A0F343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996560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7802ACD8-86B2-D190-C0F0-88871E38CB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920A98C3-7860-1E8E-A6D8-847264A24841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362075" y="1087438"/>
            <a:ext cx="9034463" cy="4298950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633721D-7056-D193-A964-A2FD2F7D1700}"/>
              </a:ext>
            </a:extLst>
          </p:cNvPr>
          <p:cNvSpPr/>
          <p:nvPr userDrawn="1"/>
        </p:nvSpPr>
        <p:spPr>
          <a:xfrm>
            <a:off x="934063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622725D-1762-043F-3353-EE3AC5D4598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26957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286" imgH="286" progId="TCLayout.ActiveDocument.1">
                  <p:embed/>
                </p:oleObj>
              </mc:Choice>
              <mc:Fallback>
                <p:oleObj name="Diapositive think-cell" r:id="rId3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000" y="648000"/>
            <a:ext cx="9360000" cy="900000"/>
          </a:xfrm>
        </p:spPr>
        <p:txBody>
          <a:bodyPr vert="horz"/>
          <a:lstStyle>
            <a:lvl1pPr>
              <a:defRPr b="0" i="0">
                <a:latin typeface="Montserrat Light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 i="0">
                <a:latin typeface="Montserrat" pitchFamily="2" charset="77"/>
                <a:ea typeface="+mn-ea"/>
                <a:cs typeface="+mn-cs"/>
              </a:defRPr>
            </a:lvl1pPr>
            <a:lvl2pPr>
              <a:defRPr b="0" i="0">
                <a:latin typeface="Montserrat" pitchFamily="2" charset="77"/>
                <a:ea typeface="+mn-ea"/>
                <a:cs typeface="+mn-cs"/>
              </a:defRPr>
            </a:lvl2pPr>
            <a:lvl3pPr>
              <a:defRPr b="0" i="0">
                <a:latin typeface="Montserrat" pitchFamily="2" charset="77"/>
                <a:ea typeface="+mn-ea"/>
                <a:cs typeface="+mn-cs"/>
              </a:defRPr>
            </a:lvl3pPr>
            <a:lvl4pPr>
              <a:defRPr b="0" i="0">
                <a:latin typeface="Montserrat" pitchFamily="2" charset="77"/>
                <a:ea typeface="+mn-ea"/>
                <a:cs typeface="+mn-cs"/>
              </a:defRPr>
            </a:lvl4pPr>
            <a:lvl5pPr>
              <a:defRPr b="0" i="0">
                <a:latin typeface="Montserrat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19">
            <a:extLst>
              <a:ext uri="{FF2B5EF4-FFF2-40B4-BE49-F238E27FC236}">
                <a16:creationId xmlns:a16="http://schemas.microsoft.com/office/drawing/2014/main" id="{30996536-2C77-436D-AFC2-7994283CC4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184" y="676800"/>
            <a:ext cx="288032" cy="5616000"/>
          </a:xfrm>
        </p:spPr>
        <p:txBody>
          <a:bodyPr vert="vert270" anchor="ctr"/>
          <a:lstStyle>
            <a:lvl1pPr algn="r">
              <a:buNone/>
              <a:defRPr sz="1000" b="0" i="0" spc="110" baseline="0">
                <a:solidFill>
                  <a:srgbClr val="9EB5C3"/>
                </a:solidFill>
                <a:latin typeface="Montserrat" pitchFamily="2" charset="77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800B9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110" normalizeH="0" baseline="0" noProof="0">
                <a:ln>
                  <a:noFill/>
                </a:ln>
                <a:solidFill>
                  <a:srgbClr val="9EB5C3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AIR FRANCE-KLM INVESTOR DAY – FEBRUARY 2022</a:t>
            </a:r>
          </a:p>
        </p:txBody>
      </p:sp>
    </p:spTree>
    <p:extLst>
      <p:ext uri="{BB962C8B-B14F-4D97-AF65-F5344CB8AC3E}">
        <p14:creationId xmlns:p14="http://schemas.microsoft.com/office/powerpoint/2010/main" val="78172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83526BB-19C3-403A-A9CA-F1F5466870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31257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59AFCB35-0403-6FEF-D822-BAEB9AAC5B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48700" y="0"/>
            <a:ext cx="3543300" cy="6257925"/>
          </a:xfrm>
          <a:custGeom>
            <a:avLst/>
            <a:gdLst>
              <a:gd name="connsiteX0" fmla="*/ 0 w 3543300"/>
              <a:gd name="connsiteY0" fmla="*/ 0 h 6257925"/>
              <a:gd name="connsiteX1" fmla="*/ 3543300 w 3543300"/>
              <a:gd name="connsiteY1" fmla="*/ 0 h 6257925"/>
              <a:gd name="connsiteX2" fmla="*/ 3543300 w 3543300"/>
              <a:gd name="connsiteY2" fmla="*/ 6086281 h 6257925"/>
              <a:gd name="connsiteX3" fmla="*/ 699300 w 3543300"/>
              <a:gd name="connsiteY3" fmla="*/ 6086281 h 6257925"/>
              <a:gd name="connsiteX4" fmla="*/ 699300 w 3543300"/>
              <a:gd name="connsiteY4" fmla="*/ 6257083 h 6257925"/>
              <a:gd name="connsiteX5" fmla="*/ 3543300 w 3543300"/>
              <a:gd name="connsiteY5" fmla="*/ 6257083 h 6257925"/>
              <a:gd name="connsiteX6" fmla="*/ 3543300 w 3543300"/>
              <a:gd name="connsiteY6" fmla="*/ 6257925 h 6257925"/>
              <a:gd name="connsiteX7" fmla="*/ 0 w 3543300"/>
              <a:gd name="connsiteY7" fmla="*/ 6257925 h 6257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43300" h="6257925">
                <a:moveTo>
                  <a:pt x="0" y="0"/>
                </a:moveTo>
                <a:lnTo>
                  <a:pt x="3543300" y="0"/>
                </a:lnTo>
                <a:lnTo>
                  <a:pt x="3543300" y="6086281"/>
                </a:lnTo>
                <a:lnTo>
                  <a:pt x="699300" y="6086281"/>
                </a:lnTo>
                <a:lnTo>
                  <a:pt x="699300" y="6257083"/>
                </a:lnTo>
                <a:lnTo>
                  <a:pt x="3543300" y="6257083"/>
                </a:lnTo>
                <a:lnTo>
                  <a:pt x="3543300" y="6257925"/>
                </a:lnTo>
                <a:lnTo>
                  <a:pt x="0" y="625792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6BA7766B-92C4-BD21-9512-02F641AFA35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2A6459AD-62E4-7394-B1C8-3BAC043A1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788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20C4426-C117-DEA8-27FE-4478B40246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8813" y="1841500"/>
            <a:ext cx="7888287" cy="44084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8698011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205334-D4B8-4ACF-82AA-8F9F1C573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E27B8A-09BA-4466-8D10-2D2B87829A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8B0F8-0699-4D2B-9775-6FD2EF02F399}" type="datetime1">
              <a:rPr lang="en-US" smtClean="0"/>
              <a:t>4/9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64420D-9685-48D9-9C41-05AEC744E3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S PowerPoint Proficienc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49F133-E39F-4D5B-A4DF-F172AD6783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49880-4FBE-4252-ADD0-F5158B178B39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7861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8617" y="-1"/>
            <a:ext cx="8323385" cy="6858001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9C2D8AD-1715-506C-4C50-71A457D1B6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5" y="0"/>
            <a:ext cx="3868615" cy="685800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8E78691B-7AE2-48B1-84EE-3F3A5F3F60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67765" y="5420214"/>
            <a:ext cx="2670401" cy="8645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15">
            <a:extLst>
              <a:ext uri="{FF2B5EF4-FFF2-40B4-BE49-F238E27FC236}">
                <a16:creationId xmlns:a16="http://schemas.microsoft.com/office/drawing/2014/main" id="{1E77BB4D-36FB-D18C-A962-8154A27156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5124" y="5326145"/>
            <a:ext cx="6585665" cy="86383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26B32CC9-58AF-57F1-2652-427D03608D1B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N°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262891152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texte 15">
            <a:extLst>
              <a:ext uri="{FF2B5EF4-FFF2-40B4-BE49-F238E27FC236}">
                <a16:creationId xmlns:a16="http://schemas.microsoft.com/office/drawing/2014/main" id="{21448705-9BE5-B112-66F2-E4987C76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8033" y="5326145"/>
            <a:ext cx="6585665" cy="86383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N°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113273891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texte 15">
            <a:extLst>
              <a:ext uri="{FF2B5EF4-FFF2-40B4-BE49-F238E27FC236}">
                <a16:creationId xmlns:a16="http://schemas.microsoft.com/office/drawing/2014/main" id="{51C70AAC-1C75-615D-436C-EEB18130EA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8032" y="4562949"/>
            <a:ext cx="8003091" cy="157271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b="0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>
                <a:solidFill>
                  <a:schemeClr val="bg1"/>
                </a:solidFill>
              </a:defRPr>
            </a:lvl2pPr>
            <a:lvl3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3pPr>
            <a:lvl4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4pPr>
            <a:lvl5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N°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136466382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8330011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9C2D8AD-1715-506C-4C50-71A457D1B6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37155" y="0"/>
            <a:ext cx="3868615" cy="685800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16217" y="5420214"/>
            <a:ext cx="2670401" cy="8645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CC4C364E-8C8D-E92C-A343-35013E70E5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8033" y="5326145"/>
            <a:ext cx="6585665" cy="86383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D053360C-2C4F-9F93-8EEF-80DA4DFD3B55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N°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279621012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16217" y="5222247"/>
            <a:ext cx="2670401" cy="8645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DBDB161D-9C5D-3E42-CE6A-7E1015B87F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569" y="5322014"/>
            <a:ext cx="6585665" cy="76426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pic>
        <p:nvPicPr>
          <p:cNvPr id="12" name="Image 11" descr="Une image contenant texte&#10;&#10;Description générée automatiquement">
            <a:extLst>
              <a:ext uri="{FF2B5EF4-FFF2-40B4-BE49-F238E27FC236}">
                <a16:creationId xmlns:a16="http://schemas.microsoft.com/office/drawing/2014/main" id="{67F0B7D9-4138-62F6-731D-2C0E41427C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21E93E2-4A2D-AA26-4C2E-4D7DE9A33B2D}"/>
              </a:ext>
            </a:extLst>
          </p:cNvPr>
          <p:cNvSpPr/>
          <p:nvPr userDrawn="1"/>
        </p:nvSpPr>
        <p:spPr>
          <a:xfrm>
            <a:off x="934325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01138A04-515B-878A-75BA-1E1A339BCAEA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N°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407742550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48701" y="1"/>
            <a:ext cx="3543300" cy="6249371"/>
          </a:xfrm>
          <a:custGeom>
            <a:avLst/>
            <a:gdLst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3300 w 3543300"/>
              <a:gd name="connsiteY2" fmla="*/ 6248400 h 6248400"/>
              <a:gd name="connsiteX3" fmla="*/ 0 w 3543300"/>
              <a:gd name="connsiteY3" fmla="*/ 6248400 h 6248400"/>
              <a:gd name="connsiteX4" fmla="*/ 0 w 3543300"/>
              <a:gd name="connsiteY4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0 w 3543300"/>
              <a:gd name="connsiteY3" fmla="*/ 6248400 h 6248400"/>
              <a:gd name="connsiteX4" fmla="*/ 0 w 3543300"/>
              <a:gd name="connsiteY4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67114 w 3543300"/>
              <a:gd name="connsiteY3" fmla="*/ 6217338 h 6248400"/>
              <a:gd name="connsiteX4" fmla="*/ 0 w 3543300"/>
              <a:gd name="connsiteY4" fmla="*/ 6248400 h 6248400"/>
              <a:gd name="connsiteX5" fmla="*/ 0 w 3543300"/>
              <a:gd name="connsiteY5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87499 w 3543300"/>
              <a:gd name="connsiteY3" fmla="*/ 6089206 h 6248400"/>
              <a:gd name="connsiteX4" fmla="*/ 0 w 3543300"/>
              <a:gd name="connsiteY4" fmla="*/ 6248400 h 6248400"/>
              <a:gd name="connsiteX5" fmla="*/ 0 w 3543300"/>
              <a:gd name="connsiteY5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87499 w 3543300"/>
              <a:gd name="connsiteY3" fmla="*/ 6089206 h 6248400"/>
              <a:gd name="connsiteX4" fmla="*/ 410849 w 3543300"/>
              <a:gd name="connsiteY4" fmla="*/ 6156183 h 6248400"/>
              <a:gd name="connsiteX5" fmla="*/ 0 w 3543300"/>
              <a:gd name="connsiteY5" fmla="*/ 6248400 h 6248400"/>
              <a:gd name="connsiteX6" fmla="*/ 0 w 3543300"/>
              <a:gd name="connsiteY6" fmla="*/ 0 h 6248400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687499 w 3543300"/>
              <a:gd name="connsiteY3" fmla="*/ 6089206 h 6249371"/>
              <a:gd name="connsiteX4" fmla="*/ 699147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696235 w 3543300"/>
              <a:gd name="connsiteY3" fmla="*/ 6086294 h 6249371"/>
              <a:gd name="connsiteX4" fmla="*/ 699147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43300" h="6249371">
                <a:moveTo>
                  <a:pt x="0" y="0"/>
                </a:moveTo>
                <a:lnTo>
                  <a:pt x="3543300" y="0"/>
                </a:lnTo>
                <a:lnTo>
                  <a:pt x="3540387" y="6088234"/>
                </a:lnTo>
                <a:lnTo>
                  <a:pt x="696235" y="6086294"/>
                </a:lnTo>
                <a:cubicBezTo>
                  <a:pt x="697206" y="6140653"/>
                  <a:pt x="698176" y="6195012"/>
                  <a:pt x="699147" y="6249371"/>
                </a:cubicBezTo>
                <a:lnTo>
                  <a:pt x="0" y="6248400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800" y="782843"/>
            <a:ext cx="7872357" cy="7071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1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12" name="Image 11" descr="Une image contenant texte&#10;&#10;Description générée automatiquement">
            <a:extLst>
              <a:ext uri="{FF2B5EF4-FFF2-40B4-BE49-F238E27FC236}">
                <a16:creationId xmlns:a16="http://schemas.microsoft.com/office/drawing/2014/main" id="{8F3A6018-B9BD-CDC2-CFAA-43C9C63D09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4EFA0C5-AD06-31EA-17D3-B58EDCBFD676}"/>
              </a:ext>
            </a:extLst>
          </p:cNvPr>
          <p:cNvSpPr/>
          <p:nvPr userDrawn="1"/>
        </p:nvSpPr>
        <p:spPr>
          <a:xfrm>
            <a:off x="9340631" y="6077137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6BA7766B-92C4-BD21-9512-02F641AFA35B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N°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102997179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6CB50D1-4DE1-5F46-1888-8A2C8C75C76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801" y="782843"/>
            <a:ext cx="5328059" cy="7071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1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" name="Espace réservé du texte 15">
            <a:extLst>
              <a:ext uri="{FF2B5EF4-FFF2-40B4-BE49-F238E27FC236}">
                <a16:creationId xmlns:a16="http://schemas.microsoft.com/office/drawing/2014/main" id="{B0495C30-A109-9D35-1814-A24BDC85110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36" y="1848251"/>
            <a:ext cx="5328059" cy="3540207"/>
          </a:xfrm>
          <a:prstGeom prst="rect">
            <a:avLst/>
          </a:prstGeom>
        </p:spPr>
        <p:txBody>
          <a:bodyPr lIns="0" tIns="0" rIns="0" bIns="0"/>
          <a:lstStyle>
            <a:lvl1pPr marL="143996" indent="-143996">
              <a:lnSpc>
                <a:spcPts val="1700"/>
              </a:lnSpc>
              <a:spcBef>
                <a:spcPts val="0"/>
              </a:spcBef>
              <a:spcAft>
                <a:spcPts val="160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6F1B9F65-B821-C5EF-6586-FB500E5AE8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366C0F0-D38A-7996-1CA3-52D87224E216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264175813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801" y="782844"/>
            <a:ext cx="10925945" cy="58875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1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96351" y="1399733"/>
            <a:ext cx="2694660" cy="468757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pic>
        <p:nvPicPr>
          <p:cNvPr id="4" name="Imag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C941EFE2-D814-392F-03C8-15998BFA6E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93C57F8-DA0A-A30D-36D9-9168B9773F79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N°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13369518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_Diapositive de titre">
    <p:bg>
      <p:bgPr>
        <a:solidFill>
          <a:schemeClr val="bg2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C0D2B5A7-C0D8-D75E-1523-5F65B65C974D}"/>
              </a:ext>
            </a:extLst>
          </p:cNvPr>
          <p:cNvSpPr/>
          <p:nvPr userDrawn="1"/>
        </p:nvSpPr>
        <p:spPr>
          <a:xfrm>
            <a:off x="8479356" y="3870893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B25BF9-A278-758A-9CC2-F8E17BA2847B}"/>
              </a:ext>
            </a:extLst>
          </p:cNvPr>
          <p:cNvSpPr/>
          <p:nvPr userDrawn="1"/>
        </p:nvSpPr>
        <p:spPr>
          <a:xfrm>
            <a:off x="8472321" y="146056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4B227E3-ED2F-17F9-677C-90D813754385}"/>
              </a:ext>
            </a:extLst>
          </p:cNvPr>
          <p:cNvSpPr/>
          <p:nvPr userDrawn="1"/>
        </p:nvSpPr>
        <p:spPr>
          <a:xfrm>
            <a:off x="3227447" y="3866207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48F2C4-0D1C-BF29-6466-89B62A36C966}"/>
              </a:ext>
            </a:extLst>
          </p:cNvPr>
          <p:cNvSpPr/>
          <p:nvPr userDrawn="1"/>
        </p:nvSpPr>
        <p:spPr>
          <a:xfrm>
            <a:off x="3220413" y="1455877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801" y="782844"/>
            <a:ext cx="10925945" cy="58875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1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489" y="1455877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504D176-9365-C4EC-194B-9D1D0889E7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5027" y="3852719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pour une image  2">
            <a:extLst>
              <a:ext uri="{FF2B5EF4-FFF2-40B4-BE49-F238E27FC236}">
                <a16:creationId xmlns:a16="http://schemas.microsoft.com/office/drawing/2014/main" id="{F8ECD786-5F3E-66BE-6167-7FDA8A0DC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37468" y="1460491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015FFF62-038F-DFBD-3A5D-EAA91157EB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939005" y="3857333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3" name="Espace réservé du texte 15">
            <a:extLst>
              <a:ext uri="{FF2B5EF4-FFF2-40B4-BE49-F238E27FC236}">
                <a16:creationId xmlns:a16="http://schemas.microsoft.com/office/drawing/2014/main" id="{4CDC0DEA-29CA-A3A6-50C7-CD947F1C237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47080" y="2048273"/>
            <a:ext cx="2310257" cy="1578136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43996" indent="-143996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3pPr>
            <a:lvl4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6F250A55-18C5-E9C8-97F7-893188274C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54113" y="4458603"/>
            <a:ext cx="2310257" cy="1578136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43996" indent="-143996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D452E9E9-BA59-80BB-08CA-5969FC82B6C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98989" y="2052959"/>
            <a:ext cx="2310257" cy="1578136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43996" indent="-143996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0" name="Espace réservé du texte 15">
            <a:extLst>
              <a:ext uri="{FF2B5EF4-FFF2-40B4-BE49-F238E27FC236}">
                <a16:creationId xmlns:a16="http://schemas.microsoft.com/office/drawing/2014/main" id="{775C9F0C-BB31-2C53-05BB-BA444576735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706022" y="4463289"/>
            <a:ext cx="2310257" cy="1578136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43996" indent="-143996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10" name="Image 9" descr="Une image contenant texte&#10;&#10;Description générée automatiquement">
            <a:extLst>
              <a:ext uri="{FF2B5EF4-FFF2-40B4-BE49-F238E27FC236}">
                <a16:creationId xmlns:a16="http://schemas.microsoft.com/office/drawing/2014/main" id="{6399DDF4-3C33-B0C2-540A-42A3505344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FAA85C1-102B-9F9E-28C0-2640E85C838F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EAD8A23E-04F1-12EF-E55B-4AF40B65F6D1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N°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10938281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485DC8EE-6F37-2185-7327-C63ABF7B7B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48700" y="1793558"/>
            <a:ext cx="3543300" cy="4464367"/>
          </a:xfrm>
          <a:custGeom>
            <a:avLst/>
            <a:gdLst>
              <a:gd name="connsiteX0" fmla="*/ 0 w 3543300"/>
              <a:gd name="connsiteY0" fmla="*/ 0 h 4464367"/>
              <a:gd name="connsiteX1" fmla="*/ 3543300 w 3543300"/>
              <a:gd name="connsiteY1" fmla="*/ 0 h 4464367"/>
              <a:gd name="connsiteX2" fmla="*/ 3543300 w 3543300"/>
              <a:gd name="connsiteY2" fmla="*/ 4292723 h 4464367"/>
              <a:gd name="connsiteX3" fmla="*/ 699300 w 3543300"/>
              <a:gd name="connsiteY3" fmla="*/ 4292723 h 4464367"/>
              <a:gd name="connsiteX4" fmla="*/ 699300 w 3543300"/>
              <a:gd name="connsiteY4" fmla="*/ 4463525 h 4464367"/>
              <a:gd name="connsiteX5" fmla="*/ 3543300 w 3543300"/>
              <a:gd name="connsiteY5" fmla="*/ 4463525 h 4464367"/>
              <a:gd name="connsiteX6" fmla="*/ 3543300 w 3543300"/>
              <a:gd name="connsiteY6" fmla="*/ 4464367 h 4464367"/>
              <a:gd name="connsiteX7" fmla="*/ 0 w 3543300"/>
              <a:gd name="connsiteY7" fmla="*/ 4464367 h 4464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43300" h="4464367">
                <a:moveTo>
                  <a:pt x="0" y="0"/>
                </a:moveTo>
                <a:lnTo>
                  <a:pt x="3543300" y="0"/>
                </a:lnTo>
                <a:lnTo>
                  <a:pt x="3543300" y="4292723"/>
                </a:lnTo>
                <a:lnTo>
                  <a:pt x="699300" y="4292723"/>
                </a:lnTo>
                <a:lnTo>
                  <a:pt x="699300" y="4463525"/>
                </a:lnTo>
                <a:lnTo>
                  <a:pt x="3543300" y="4463525"/>
                </a:lnTo>
                <a:lnTo>
                  <a:pt x="3543300" y="4464367"/>
                </a:lnTo>
                <a:lnTo>
                  <a:pt x="0" y="44643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6BA7766B-92C4-BD21-9512-02F641AFA35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2A6459AD-62E4-7394-B1C8-3BAC043A1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236021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20C4426-C117-DEA8-27FE-4478B40246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8813" y="1841500"/>
            <a:ext cx="7888287" cy="44084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8057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09853" y="1"/>
            <a:ext cx="5782147" cy="6249371"/>
          </a:xfrm>
          <a:custGeom>
            <a:avLst/>
            <a:gdLst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3300 w 3543300"/>
              <a:gd name="connsiteY2" fmla="*/ 6248400 h 6248400"/>
              <a:gd name="connsiteX3" fmla="*/ 0 w 3543300"/>
              <a:gd name="connsiteY3" fmla="*/ 6248400 h 6248400"/>
              <a:gd name="connsiteX4" fmla="*/ 0 w 3543300"/>
              <a:gd name="connsiteY4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0 w 3543300"/>
              <a:gd name="connsiteY3" fmla="*/ 6248400 h 6248400"/>
              <a:gd name="connsiteX4" fmla="*/ 0 w 3543300"/>
              <a:gd name="connsiteY4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67114 w 3543300"/>
              <a:gd name="connsiteY3" fmla="*/ 6217338 h 6248400"/>
              <a:gd name="connsiteX4" fmla="*/ 0 w 3543300"/>
              <a:gd name="connsiteY4" fmla="*/ 6248400 h 6248400"/>
              <a:gd name="connsiteX5" fmla="*/ 0 w 3543300"/>
              <a:gd name="connsiteY5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87499 w 3543300"/>
              <a:gd name="connsiteY3" fmla="*/ 6089206 h 6248400"/>
              <a:gd name="connsiteX4" fmla="*/ 0 w 3543300"/>
              <a:gd name="connsiteY4" fmla="*/ 6248400 h 6248400"/>
              <a:gd name="connsiteX5" fmla="*/ 0 w 3543300"/>
              <a:gd name="connsiteY5" fmla="*/ 0 h 6248400"/>
              <a:gd name="connsiteX0" fmla="*/ 0 w 3543300"/>
              <a:gd name="connsiteY0" fmla="*/ 0 h 6248400"/>
              <a:gd name="connsiteX1" fmla="*/ 3543300 w 3543300"/>
              <a:gd name="connsiteY1" fmla="*/ 0 h 6248400"/>
              <a:gd name="connsiteX2" fmla="*/ 3540387 w 3543300"/>
              <a:gd name="connsiteY2" fmla="*/ 6088234 h 6248400"/>
              <a:gd name="connsiteX3" fmla="*/ 687499 w 3543300"/>
              <a:gd name="connsiteY3" fmla="*/ 6089206 h 6248400"/>
              <a:gd name="connsiteX4" fmla="*/ 410849 w 3543300"/>
              <a:gd name="connsiteY4" fmla="*/ 6156183 h 6248400"/>
              <a:gd name="connsiteX5" fmla="*/ 0 w 3543300"/>
              <a:gd name="connsiteY5" fmla="*/ 6248400 h 6248400"/>
              <a:gd name="connsiteX6" fmla="*/ 0 w 3543300"/>
              <a:gd name="connsiteY6" fmla="*/ 0 h 6248400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687499 w 3543300"/>
              <a:gd name="connsiteY3" fmla="*/ 6089206 h 6249371"/>
              <a:gd name="connsiteX4" fmla="*/ 699147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696235 w 3543300"/>
              <a:gd name="connsiteY3" fmla="*/ 6086294 h 6249371"/>
              <a:gd name="connsiteX4" fmla="*/ 699147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1806611 w 3543300"/>
              <a:gd name="connsiteY3" fmla="*/ 6086294 h 6249371"/>
              <a:gd name="connsiteX4" fmla="*/ 699147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1806611 w 3543300"/>
              <a:gd name="connsiteY3" fmla="*/ 6086294 h 6249371"/>
              <a:gd name="connsiteX4" fmla="*/ 1807804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1803173 w 3543300"/>
              <a:gd name="connsiteY3" fmla="*/ 6086294 h 6249371"/>
              <a:gd name="connsiteX4" fmla="*/ 1807804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  <a:gd name="connsiteX0" fmla="*/ 0 w 3543300"/>
              <a:gd name="connsiteY0" fmla="*/ 0 h 6249371"/>
              <a:gd name="connsiteX1" fmla="*/ 3543300 w 3543300"/>
              <a:gd name="connsiteY1" fmla="*/ 0 h 6249371"/>
              <a:gd name="connsiteX2" fmla="*/ 3540387 w 3543300"/>
              <a:gd name="connsiteY2" fmla="*/ 6088234 h 6249371"/>
              <a:gd name="connsiteX3" fmla="*/ 1803173 w 3543300"/>
              <a:gd name="connsiteY3" fmla="*/ 6086294 h 6249371"/>
              <a:gd name="connsiteX4" fmla="*/ 1800929 w 3543300"/>
              <a:gd name="connsiteY4" fmla="*/ 6249371 h 6249371"/>
              <a:gd name="connsiteX5" fmla="*/ 0 w 3543300"/>
              <a:gd name="connsiteY5" fmla="*/ 6248400 h 6249371"/>
              <a:gd name="connsiteX6" fmla="*/ 0 w 3543300"/>
              <a:gd name="connsiteY6" fmla="*/ 0 h 6249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43300" h="6249371">
                <a:moveTo>
                  <a:pt x="0" y="0"/>
                </a:moveTo>
                <a:lnTo>
                  <a:pt x="3543300" y="0"/>
                </a:lnTo>
                <a:lnTo>
                  <a:pt x="3540387" y="6088234"/>
                </a:lnTo>
                <a:lnTo>
                  <a:pt x="1803173" y="6086294"/>
                </a:lnTo>
                <a:cubicBezTo>
                  <a:pt x="1804144" y="6140653"/>
                  <a:pt x="1799958" y="6195012"/>
                  <a:pt x="1800929" y="6249371"/>
                </a:cubicBezTo>
                <a:lnTo>
                  <a:pt x="0" y="6248400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801" y="782843"/>
            <a:ext cx="5437201" cy="7071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1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55455214-5023-D42B-32AE-9A36B3A055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8800" y="2123418"/>
            <a:ext cx="5328059" cy="3540207"/>
          </a:xfrm>
          <a:prstGeom prst="rect">
            <a:avLst/>
          </a:prstGeom>
        </p:spPr>
        <p:txBody>
          <a:bodyPr lIns="0" tIns="0" rIns="0" bIns="0"/>
          <a:lstStyle>
            <a:lvl1pPr marL="143996" indent="-143996">
              <a:lnSpc>
                <a:spcPts val="17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Manrope" pitchFamily="2" charset="0"/>
              <a:buChar char="•"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266693" indent="-171446">
              <a:lnSpc>
                <a:spcPts val="1700"/>
              </a:lnSpc>
              <a:spcBef>
                <a:spcPts val="0"/>
              </a:spcBef>
              <a:buFont typeface="Manrope" pitchFamily="2" charset="0"/>
              <a:buChar char="•"/>
              <a:defRPr sz="1000"/>
            </a:lvl2pPr>
            <a:lvl3pPr marL="143996" indent="-143996">
              <a:lnSpc>
                <a:spcPts val="1700"/>
              </a:lnSpc>
              <a:spcBef>
                <a:spcPts val="1600"/>
              </a:spcBef>
              <a:buClr>
                <a:schemeClr val="tx2"/>
              </a:buClr>
              <a:buFont typeface="Manrope" pitchFamily="2" charset="0"/>
              <a:buChar char="•"/>
              <a:defRPr sz="1000" b="1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1A9A9331-0CD2-86F7-5978-8F70A9CEF9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4183903-E879-30B9-96C4-81B7E532A35E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9E50CB6E-2DE4-D19F-9231-9EA4C833DAF1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N°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409274842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782843"/>
            <a:ext cx="11249916" cy="502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1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N°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195427202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1368059"/>
            <a:ext cx="11249916" cy="502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1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N°›</a:t>
            </a:fld>
            <a:endParaRPr lang="fr-FR" sz="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1" y="-1"/>
            <a:ext cx="12192000" cy="630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8" name="Espace réservé du texte 15">
            <a:extLst>
              <a:ext uri="{FF2B5EF4-FFF2-40B4-BE49-F238E27FC236}">
                <a16:creationId xmlns:a16="http://schemas.microsoft.com/office/drawing/2014/main" id="{27E47DD0-D586-8FBB-8ED0-C9FAC0DC0B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0561" y="314999"/>
            <a:ext cx="5665471" cy="2158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053413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1368059"/>
            <a:ext cx="11249916" cy="502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1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N°›</a:t>
            </a:fld>
            <a:endParaRPr lang="fr-FR" sz="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1" y="-1"/>
            <a:ext cx="12192000" cy="630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8" name="Espace réservé du texte 15">
            <a:extLst>
              <a:ext uri="{FF2B5EF4-FFF2-40B4-BE49-F238E27FC236}">
                <a16:creationId xmlns:a16="http://schemas.microsoft.com/office/drawing/2014/main" id="{27E47DD0-D586-8FBB-8ED0-C9FAC0DC0B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0561" y="314999"/>
            <a:ext cx="5665471" cy="2158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5">
            <a:extLst>
              <a:ext uri="{FF2B5EF4-FFF2-40B4-BE49-F238E27FC236}">
                <a16:creationId xmlns:a16="http://schemas.microsoft.com/office/drawing/2014/main" id="{4EEFBE55-73F4-3627-94B7-AC49EFFCFE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19373" y="2099039"/>
            <a:ext cx="5367080" cy="3682049"/>
          </a:xfrm>
          <a:prstGeom prst="rect">
            <a:avLst/>
          </a:prstGeom>
        </p:spPr>
        <p:txBody>
          <a:bodyPr lIns="0" tIns="0" rIns="0" bIns="0" numCol="2" spcCol="360000"/>
          <a:lstStyle>
            <a:lvl1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0AEBD8B4-D833-1BB4-AA20-4D5388B0FF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6351" y="2139886"/>
            <a:ext cx="4240152" cy="360103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24236115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69" y="-1"/>
            <a:ext cx="4730095" cy="6858001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800" y="775211"/>
            <a:ext cx="3109333" cy="531107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spcAft>
                <a:spcPts val="1400"/>
              </a:spcAft>
              <a:buFontTx/>
              <a:buNone/>
              <a:defRPr sz="2251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700"/>
              </a:lnSpc>
              <a:spcBef>
                <a:spcPts val="1600"/>
              </a:spcBef>
              <a:buFontTx/>
              <a:buNone/>
              <a:defRPr sz="1000" b="1" cap="all" baseline="0"/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N°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38371889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1368059"/>
            <a:ext cx="11249916" cy="502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1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N°›</a:t>
            </a:fld>
            <a:endParaRPr lang="fr-FR" sz="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1" y="-1"/>
            <a:ext cx="12192000" cy="630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8" name="Espace réservé du texte 15">
            <a:extLst>
              <a:ext uri="{FF2B5EF4-FFF2-40B4-BE49-F238E27FC236}">
                <a16:creationId xmlns:a16="http://schemas.microsoft.com/office/drawing/2014/main" id="{27E47DD0-D586-8FBB-8ED0-C9FAC0DC0B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0561" y="314999"/>
            <a:ext cx="5665471" cy="2158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1300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5">
            <a:extLst>
              <a:ext uri="{FF2B5EF4-FFF2-40B4-BE49-F238E27FC236}">
                <a16:creationId xmlns:a16="http://schemas.microsoft.com/office/drawing/2014/main" id="{4EEFBE55-73F4-3627-94B7-AC49EFFCFE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41779" y="3659907"/>
            <a:ext cx="1423639" cy="2123488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0AEBD8B4-D833-1BB4-AA20-4D5388B0FF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6351" y="2139886"/>
            <a:ext cx="4240152" cy="360103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1" name="Espace réservé du texte 15">
            <a:extLst>
              <a:ext uri="{FF2B5EF4-FFF2-40B4-BE49-F238E27FC236}">
                <a16:creationId xmlns:a16="http://schemas.microsoft.com/office/drawing/2014/main" id="{64997836-CA4C-F089-615E-D1E64024445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96203" y="3659907"/>
            <a:ext cx="1423639" cy="2123488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CD4069A9-4BF3-0D1C-3FC1-88CDEC5831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558819" y="3659907"/>
            <a:ext cx="1423639" cy="2123488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46776861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691563" y="1344707"/>
            <a:ext cx="4707355" cy="4741575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EDBDB2-1C9E-6316-97DF-6FAA2F41240E}"/>
              </a:ext>
            </a:extLst>
          </p:cNvPr>
          <p:cNvSpPr/>
          <p:nvPr userDrawn="1"/>
        </p:nvSpPr>
        <p:spPr>
          <a:xfrm>
            <a:off x="5792460" y="1344706"/>
            <a:ext cx="4707355" cy="4741575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DA5CE6-7438-1322-4D6C-8667D3FC6F39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N°›</a:t>
            </a:fld>
            <a:endParaRPr lang="fr-FR" sz="800"/>
          </a:p>
        </p:txBody>
      </p:sp>
      <p:sp>
        <p:nvSpPr>
          <p:cNvPr id="9" name="Espace réservé du texte 15">
            <a:extLst>
              <a:ext uri="{FF2B5EF4-FFF2-40B4-BE49-F238E27FC236}">
                <a16:creationId xmlns:a16="http://schemas.microsoft.com/office/drawing/2014/main" id="{C0EAE004-002E-F843-0420-8EF43DD22B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799" y="784075"/>
            <a:ext cx="11249916" cy="502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00"/>
              </a:lnSpc>
              <a:spcBef>
                <a:spcPts val="0"/>
              </a:spcBef>
              <a:buFontTx/>
              <a:buNone/>
              <a:defRPr sz="2251" b="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251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9602676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A413F59-EA34-9428-A6CE-AC2C2A54FF6F}"/>
              </a:ext>
            </a:extLst>
          </p:cNvPr>
          <p:cNvSpPr/>
          <p:nvPr userDrawn="1"/>
        </p:nvSpPr>
        <p:spPr>
          <a:xfrm>
            <a:off x="0" y="3602025"/>
            <a:ext cx="12192000" cy="137457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D903D5C-600B-EDF3-EAB3-858656FE166F}"/>
              </a:ext>
            </a:extLst>
          </p:cNvPr>
          <p:cNvSpPr/>
          <p:nvPr userDrawn="1"/>
        </p:nvSpPr>
        <p:spPr>
          <a:xfrm>
            <a:off x="4980000" y="3602025"/>
            <a:ext cx="7212000" cy="452083"/>
          </a:xfrm>
          <a:prstGeom prst="rect">
            <a:avLst/>
          </a:prstGeom>
          <a:gradFill flip="none" rotWithShape="1">
            <a:gsLst>
              <a:gs pos="50000">
                <a:srgbClr val="0365D4"/>
              </a:gs>
              <a:gs pos="0">
                <a:schemeClr val="tx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976602"/>
            <a:ext cx="12192000" cy="18813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2945AF39-2E36-2BBD-B09E-34A01FD27F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743" y="2937459"/>
            <a:ext cx="2502000" cy="582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47022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7802ACD8-86B2-D190-C0F0-88871E38CB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E741E1E-0471-169E-72F4-B55B1395228B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18391565-978C-1B2F-4335-6E485A0F343A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N°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4209543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7802ACD8-86B2-D190-C0F0-88871E38CB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920A98C3-7860-1E8E-A6D8-847264A24841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362077" y="1087438"/>
            <a:ext cx="9034463" cy="4298951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633721D-7056-D193-A964-A2FD2F7D1700}"/>
              </a:ext>
            </a:extLst>
          </p:cNvPr>
          <p:cNvSpPr/>
          <p:nvPr userDrawn="1"/>
        </p:nvSpPr>
        <p:spPr>
          <a:xfrm>
            <a:off x="9340631" y="6086281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622725D-1762-043F-3353-EE3AC5D4598A}"/>
              </a:ext>
            </a:extLst>
          </p:cNvPr>
          <p:cNvSpPr txBox="1">
            <a:spLocks/>
          </p:cNvSpPr>
          <p:nvPr userDrawn="1"/>
        </p:nvSpPr>
        <p:spPr>
          <a:xfrm>
            <a:off x="11522387" y="6354526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z="800" smtClean="0"/>
              <a:pPr algn="r"/>
              <a:t>‹N°›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32316875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1B4628AD-185D-F9A9-A51F-07CE12EDC6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707529" y="1793558"/>
            <a:ext cx="5484471" cy="4464367"/>
          </a:xfrm>
          <a:custGeom>
            <a:avLst/>
            <a:gdLst>
              <a:gd name="connsiteX0" fmla="*/ 0 w 5484471"/>
              <a:gd name="connsiteY0" fmla="*/ 0 h 4464367"/>
              <a:gd name="connsiteX1" fmla="*/ 1941171 w 5484471"/>
              <a:gd name="connsiteY1" fmla="*/ 0 h 4464367"/>
              <a:gd name="connsiteX2" fmla="*/ 2042932 w 5484471"/>
              <a:gd name="connsiteY2" fmla="*/ 0 h 4464367"/>
              <a:gd name="connsiteX3" fmla="*/ 5484471 w 5484471"/>
              <a:gd name="connsiteY3" fmla="*/ 0 h 4464367"/>
              <a:gd name="connsiteX4" fmla="*/ 5484471 w 5484471"/>
              <a:gd name="connsiteY4" fmla="*/ 4292723 h 4464367"/>
              <a:gd name="connsiteX5" fmla="*/ 2640471 w 5484471"/>
              <a:gd name="connsiteY5" fmla="*/ 4292723 h 4464367"/>
              <a:gd name="connsiteX6" fmla="*/ 2640471 w 5484471"/>
              <a:gd name="connsiteY6" fmla="*/ 4463525 h 4464367"/>
              <a:gd name="connsiteX7" fmla="*/ 5484471 w 5484471"/>
              <a:gd name="connsiteY7" fmla="*/ 4463525 h 4464367"/>
              <a:gd name="connsiteX8" fmla="*/ 5484471 w 5484471"/>
              <a:gd name="connsiteY8" fmla="*/ 4464367 h 4464367"/>
              <a:gd name="connsiteX9" fmla="*/ 2042932 w 5484471"/>
              <a:gd name="connsiteY9" fmla="*/ 4464367 h 4464367"/>
              <a:gd name="connsiteX10" fmla="*/ 1941171 w 5484471"/>
              <a:gd name="connsiteY10" fmla="*/ 4464367 h 4464367"/>
              <a:gd name="connsiteX11" fmla="*/ 0 w 5484471"/>
              <a:gd name="connsiteY11" fmla="*/ 4464367 h 4464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84471" h="4464367">
                <a:moveTo>
                  <a:pt x="0" y="0"/>
                </a:moveTo>
                <a:lnTo>
                  <a:pt x="1941171" y="0"/>
                </a:lnTo>
                <a:lnTo>
                  <a:pt x="2042932" y="0"/>
                </a:lnTo>
                <a:lnTo>
                  <a:pt x="5484471" y="0"/>
                </a:lnTo>
                <a:lnTo>
                  <a:pt x="5484471" y="4292723"/>
                </a:lnTo>
                <a:lnTo>
                  <a:pt x="2640471" y="4292723"/>
                </a:lnTo>
                <a:lnTo>
                  <a:pt x="2640471" y="4463525"/>
                </a:lnTo>
                <a:lnTo>
                  <a:pt x="5484471" y="4463525"/>
                </a:lnTo>
                <a:lnTo>
                  <a:pt x="5484471" y="4464367"/>
                </a:lnTo>
                <a:lnTo>
                  <a:pt x="2042932" y="4464367"/>
                </a:lnTo>
                <a:lnTo>
                  <a:pt x="1941171" y="4464367"/>
                </a:lnTo>
                <a:lnTo>
                  <a:pt x="0" y="44643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6BA7766B-92C4-BD21-9512-02F641AFA35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2A6459AD-62E4-7394-B1C8-3BAC043A1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236021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20C4426-C117-DEA8-27FE-4478B40246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8813" y="1841500"/>
            <a:ext cx="7888287" cy="44084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04574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4489704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489705"/>
            <a:ext cx="12192000" cy="1250583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E49F57CC-897F-E3AE-7C6F-DF0D3A0217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6"/>
            <a:ext cx="1350000" cy="31404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C254173-8527-317F-FA6D-1CC91A8DB974}"/>
              </a:ext>
            </a:extLst>
          </p:cNvPr>
          <p:cNvSpPr/>
          <p:nvPr userDrawn="1"/>
        </p:nvSpPr>
        <p:spPr>
          <a:xfrm>
            <a:off x="9340631" y="6077137"/>
            <a:ext cx="2844000" cy="170803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5417" y="3301603"/>
            <a:ext cx="11038041" cy="863835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8969284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1"/>
            <a:ext cx="12192000" cy="5740287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9775" y="3362454"/>
            <a:ext cx="5403680" cy="86383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10"/>
            <a:ext cx="12192000" cy="1250583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61702465-F9DD-0678-CBD5-60029BC2E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7620"/>
            <a:ext cx="6354763" cy="5871845"/>
          </a:xfrm>
          <a:custGeom>
            <a:avLst/>
            <a:gdLst>
              <a:gd name="connsiteX0" fmla="*/ 0 w 6354762"/>
              <a:gd name="connsiteY0" fmla="*/ 0 h 5864225"/>
              <a:gd name="connsiteX1" fmla="*/ 6354762 w 6354762"/>
              <a:gd name="connsiteY1" fmla="*/ 0 h 5864225"/>
              <a:gd name="connsiteX2" fmla="*/ 6354762 w 6354762"/>
              <a:gd name="connsiteY2" fmla="*/ 5864225 h 5864225"/>
              <a:gd name="connsiteX3" fmla="*/ 0 w 6354762"/>
              <a:gd name="connsiteY3" fmla="*/ 5864225 h 5864225"/>
              <a:gd name="connsiteX4" fmla="*/ 0 w 6354762"/>
              <a:gd name="connsiteY4" fmla="*/ 0 h 5864225"/>
              <a:gd name="connsiteX0" fmla="*/ 0 w 6354762"/>
              <a:gd name="connsiteY0" fmla="*/ 7620 h 5871845"/>
              <a:gd name="connsiteX1" fmla="*/ 479647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1552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3076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4762" h="5871845">
                <a:moveTo>
                  <a:pt x="0" y="7620"/>
                </a:moveTo>
                <a:lnTo>
                  <a:pt x="4830762" y="0"/>
                </a:lnTo>
                <a:lnTo>
                  <a:pt x="6354762" y="5871845"/>
                </a:lnTo>
                <a:lnTo>
                  <a:pt x="0" y="5871845"/>
                </a:lnTo>
                <a:lnTo>
                  <a:pt x="0" y="7620"/>
                </a:lnTo>
                <a:close/>
              </a:path>
            </a:pathLst>
          </a:cu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18522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8615" y="-2"/>
            <a:ext cx="8323385" cy="6858001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9C2D8AD-1715-506C-4C50-71A457D1B6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3" y="0"/>
            <a:ext cx="3868615" cy="685800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8E78691B-7AE2-48B1-84EE-3F3A5F3F60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67764" y="5039214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15">
            <a:extLst>
              <a:ext uri="{FF2B5EF4-FFF2-40B4-BE49-F238E27FC236}">
                <a16:creationId xmlns:a16="http://schemas.microsoft.com/office/drawing/2014/main" id="{1E77BB4D-36FB-D18C-A962-8154A27156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5122" y="5039898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26B32CC9-58AF-57F1-2652-427D03608D1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918775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texte 15">
            <a:extLst>
              <a:ext uri="{FF2B5EF4-FFF2-40B4-BE49-F238E27FC236}">
                <a16:creationId xmlns:a16="http://schemas.microsoft.com/office/drawing/2014/main" id="{21448705-9BE5-B112-66F2-E4987C76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8031" y="5326145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36261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texte 15">
            <a:extLst>
              <a:ext uri="{FF2B5EF4-FFF2-40B4-BE49-F238E27FC236}">
                <a16:creationId xmlns:a16="http://schemas.microsoft.com/office/drawing/2014/main" id="{51C70AAC-1C75-615D-436C-EEB18130EA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8031" y="4562949"/>
            <a:ext cx="8003091" cy="157271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b="0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>
                <a:solidFill>
                  <a:schemeClr val="bg1"/>
                </a:solidFill>
              </a:defRPr>
            </a:lvl2pPr>
            <a:lvl3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3pPr>
            <a:lvl4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4pPr>
            <a:lvl5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465951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54315" y="5171447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DBDB161D-9C5D-3E42-CE6A-7E1015B87F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567" y="5099957"/>
            <a:ext cx="6585665" cy="76426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01138A04-515B-878A-75BA-1E1A339BCAE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8273562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59AFCB35-0403-6FEF-D822-BAEB9AAC5B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48700" y="0"/>
            <a:ext cx="3543300" cy="6257925"/>
          </a:xfrm>
          <a:custGeom>
            <a:avLst/>
            <a:gdLst>
              <a:gd name="connsiteX0" fmla="*/ 0 w 3543300"/>
              <a:gd name="connsiteY0" fmla="*/ 0 h 6257925"/>
              <a:gd name="connsiteX1" fmla="*/ 3543300 w 3543300"/>
              <a:gd name="connsiteY1" fmla="*/ 0 h 6257925"/>
              <a:gd name="connsiteX2" fmla="*/ 3543300 w 3543300"/>
              <a:gd name="connsiteY2" fmla="*/ 6086281 h 6257925"/>
              <a:gd name="connsiteX3" fmla="*/ 699300 w 3543300"/>
              <a:gd name="connsiteY3" fmla="*/ 6086281 h 6257925"/>
              <a:gd name="connsiteX4" fmla="*/ 699300 w 3543300"/>
              <a:gd name="connsiteY4" fmla="*/ 6257083 h 6257925"/>
              <a:gd name="connsiteX5" fmla="*/ 3543300 w 3543300"/>
              <a:gd name="connsiteY5" fmla="*/ 6257083 h 6257925"/>
              <a:gd name="connsiteX6" fmla="*/ 3543300 w 3543300"/>
              <a:gd name="connsiteY6" fmla="*/ 6257925 h 6257925"/>
              <a:gd name="connsiteX7" fmla="*/ 0 w 3543300"/>
              <a:gd name="connsiteY7" fmla="*/ 6257925 h 6257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43300" h="6257925">
                <a:moveTo>
                  <a:pt x="0" y="0"/>
                </a:moveTo>
                <a:lnTo>
                  <a:pt x="3543300" y="0"/>
                </a:lnTo>
                <a:lnTo>
                  <a:pt x="3543300" y="6086281"/>
                </a:lnTo>
                <a:lnTo>
                  <a:pt x="699300" y="6086281"/>
                </a:lnTo>
                <a:lnTo>
                  <a:pt x="699300" y="6257083"/>
                </a:lnTo>
                <a:lnTo>
                  <a:pt x="3543300" y="6257083"/>
                </a:lnTo>
                <a:lnTo>
                  <a:pt x="3543300" y="6257925"/>
                </a:lnTo>
                <a:lnTo>
                  <a:pt x="0" y="625792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6BA7766B-92C4-BD21-9512-02F641AFA35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2A6459AD-62E4-7394-B1C8-3BAC043A1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788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20C4426-C117-DEA8-27FE-4478B40246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8813" y="1841500"/>
            <a:ext cx="7888287" cy="44084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878158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6CB50D1-4DE1-5F46-1888-8A2C8C75C76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8A4F1AA1-ED3F-E1DD-5DE5-9B2FC7A8C08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C3A3A5D0-AA12-6B2B-3FD5-187FB5F7B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9">
            <a:extLst>
              <a:ext uri="{FF2B5EF4-FFF2-40B4-BE49-F238E27FC236}">
                <a16:creationId xmlns:a16="http://schemas.microsoft.com/office/drawing/2014/main" id="{6B26703F-F8BD-6CC0-4018-915E90FAFA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94589695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3391011" cy="62579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851148D5-F814-03B8-D42F-D36338D4D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4685" y="749300"/>
            <a:ext cx="8227711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52817615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090737"/>
            <a:ext cx="3391011" cy="4167187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FA8B9CA-B0C9-4E89-1BF3-35B6F10DC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211925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6CB50D1-4DE1-5F46-1888-8A2C8C75C76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8A4F1AA1-ED3F-E1DD-5DE5-9B2FC7A8C08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C3A3A5D0-AA12-6B2B-3FD5-187FB5F7B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9">
            <a:extLst>
              <a:ext uri="{FF2B5EF4-FFF2-40B4-BE49-F238E27FC236}">
                <a16:creationId xmlns:a16="http://schemas.microsoft.com/office/drawing/2014/main" id="{6B26703F-F8BD-6CC0-4018-915E90FAFA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04667814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e de titre">
    <p:bg>
      <p:bgPr>
        <a:solidFill>
          <a:schemeClr val="bg2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C0D2B5A7-C0D8-D75E-1523-5F65B65C974D}"/>
              </a:ext>
            </a:extLst>
          </p:cNvPr>
          <p:cNvSpPr/>
          <p:nvPr userDrawn="1"/>
        </p:nvSpPr>
        <p:spPr>
          <a:xfrm>
            <a:off x="8479355" y="387089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B25BF9-A278-758A-9CC2-F8E17BA2847B}"/>
              </a:ext>
            </a:extLst>
          </p:cNvPr>
          <p:cNvSpPr/>
          <p:nvPr userDrawn="1"/>
        </p:nvSpPr>
        <p:spPr>
          <a:xfrm>
            <a:off x="8472321" y="1460562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4B227E3-ED2F-17F9-677C-90D813754385}"/>
              </a:ext>
            </a:extLst>
          </p:cNvPr>
          <p:cNvSpPr/>
          <p:nvPr userDrawn="1"/>
        </p:nvSpPr>
        <p:spPr>
          <a:xfrm>
            <a:off x="3227446" y="386620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48F2C4-0D1C-BF29-6466-89B62A36C966}"/>
              </a:ext>
            </a:extLst>
          </p:cNvPr>
          <p:cNvSpPr/>
          <p:nvPr userDrawn="1"/>
        </p:nvSpPr>
        <p:spPr>
          <a:xfrm>
            <a:off x="3220412" y="1455876"/>
            <a:ext cx="2536923" cy="2223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489" y="1455876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504D176-9365-C4EC-194B-9D1D0889E7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5026" y="3852718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pour une image  2">
            <a:extLst>
              <a:ext uri="{FF2B5EF4-FFF2-40B4-BE49-F238E27FC236}">
                <a16:creationId xmlns:a16="http://schemas.microsoft.com/office/drawing/2014/main" id="{F8ECD786-5F3E-66BE-6167-7FDA8A0DC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37467" y="1460490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015FFF62-038F-DFBD-3A5D-EAA91157EB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939004" y="3857332"/>
            <a:ext cx="2536923" cy="222327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EAD8A23E-04F1-12EF-E55B-4AF40B65F6D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7CBD5A17-C25A-D285-E8D1-A69222DE2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9">
            <a:extLst>
              <a:ext uri="{FF2B5EF4-FFF2-40B4-BE49-F238E27FC236}">
                <a16:creationId xmlns:a16="http://schemas.microsoft.com/office/drawing/2014/main" id="{0D68BCA5-9441-D4B4-67B2-ACB415DD89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96348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7922A806-3050-6216-8467-8A8F7E9309A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96348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1" name="Espace réservé du texte 9">
            <a:extLst>
              <a:ext uri="{FF2B5EF4-FFF2-40B4-BE49-F238E27FC236}">
                <a16:creationId xmlns:a16="http://schemas.microsoft.com/office/drawing/2014/main" id="{565E36FC-49D5-6755-6DBD-1E4F4A6B380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536005" y="1634308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2" name="Espace réservé du texte 9">
            <a:extLst>
              <a:ext uri="{FF2B5EF4-FFF2-40B4-BE49-F238E27FC236}">
                <a16:creationId xmlns:a16="http://schemas.microsoft.com/office/drawing/2014/main" id="{88C19381-CEB1-4BE8-5E02-166049BF744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36005" y="4029166"/>
            <a:ext cx="2468021" cy="20583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76654495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876D64BD-3DB0-0543-8F14-0E172C5E60C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09853" y="0"/>
            <a:ext cx="5782147" cy="6255544"/>
          </a:xfrm>
          <a:custGeom>
            <a:avLst/>
            <a:gdLst>
              <a:gd name="connsiteX0" fmla="*/ 0 w 5782147"/>
              <a:gd name="connsiteY0" fmla="*/ 0 h 6255544"/>
              <a:gd name="connsiteX1" fmla="*/ 5782147 w 5782147"/>
              <a:gd name="connsiteY1" fmla="*/ 0 h 6255544"/>
              <a:gd name="connsiteX2" fmla="*/ 5782147 w 5782147"/>
              <a:gd name="connsiteY2" fmla="*/ 6086281 h 6255544"/>
              <a:gd name="connsiteX3" fmla="*/ 2938147 w 5782147"/>
              <a:gd name="connsiteY3" fmla="*/ 6086281 h 6255544"/>
              <a:gd name="connsiteX4" fmla="*/ 2938147 w 5782147"/>
              <a:gd name="connsiteY4" fmla="*/ 6255544 h 6255544"/>
              <a:gd name="connsiteX5" fmla="*/ 0 w 5782147"/>
              <a:gd name="connsiteY5" fmla="*/ 6255544 h 6255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82147" h="6255544">
                <a:moveTo>
                  <a:pt x="0" y="0"/>
                </a:moveTo>
                <a:lnTo>
                  <a:pt x="5782147" y="0"/>
                </a:lnTo>
                <a:lnTo>
                  <a:pt x="5782147" y="6086281"/>
                </a:lnTo>
                <a:lnTo>
                  <a:pt x="2938147" y="6086281"/>
                </a:lnTo>
                <a:lnTo>
                  <a:pt x="2938147" y="6255544"/>
                </a:lnTo>
                <a:lnTo>
                  <a:pt x="0" y="6255544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9E50CB6E-2DE4-D19F-9231-9EA4C833DAF1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921E50DF-DE8F-807A-0850-1748D7B831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5348287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85D031EE-AA2B-B220-2EC5-D23A7A963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534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14748898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D8480E7-2ECC-BD48-B203-9FEEDCAD8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F31E1BF-5516-0441-A69F-90F33FB7B57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768443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-7370" y="1463040"/>
            <a:ext cx="12192000" cy="4794043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93E953-A901-81BD-D2C5-2111501732C7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EE983DBA-5065-6529-7AB8-AE21490489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873CE2BF-1890-B51F-0290-2F21AA5523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1131358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418325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2108200"/>
            <a:ext cx="3448562" cy="3758172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02000234-53E8-0EB5-64B2-5273511CE8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919F608-FE4D-0791-8EF8-C8E6397447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74470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0AD9DF82-143A-F3CC-92CA-525C0080C0C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46585" y="2108200"/>
            <a:ext cx="3260044" cy="37700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1545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72B3A4-9A74-EBE6-C70C-165ED2C8F3E2}"/>
              </a:ext>
            </a:extLst>
          </p:cNvPr>
          <p:cNvSpPr/>
          <p:nvPr userDrawn="1"/>
        </p:nvSpPr>
        <p:spPr>
          <a:xfrm>
            <a:off x="4364349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B7A414-FBF5-60FD-8EDE-E98D676EC60A}"/>
              </a:ext>
            </a:extLst>
          </p:cNvPr>
          <p:cNvSpPr/>
          <p:nvPr userDrawn="1"/>
        </p:nvSpPr>
        <p:spPr>
          <a:xfrm>
            <a:off x="683600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39A05-7730-A25E-BA2C-18063212AA1A}"/>
              </a:ext>
            </a:extLst>
          </p:cNvPr>
          <p:cNvSpPr/>
          <p:nvPr userDrawn="1"/>
        </p:nvSpPr>
        <p:spPr>
          <a:xfrm>
            <a:off x="8039311" y="1811439"/>
            <a:ext cx="3448562" cy="4054934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229B4BA-34D5-DD00-3D6C-F90F6474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133802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0AEBD8B4-D833-1BB4-AA20-4D5388B0FF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6351" y="2099039"/>
            <a:ext cx="4240152" cy="415888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F295785-1711-3186-52FD-589454E56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507D87CC-E99A-FFA2-6E6F-B2CCDCD6BE9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74355" y="2108200"/>
            <a:ext cx="6698042" cy="37410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0820962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-7370" y="-2"/>
            <a:ext cx="4730095" cy="6858001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DA7A9B1-EF59-8AC2-1957-FADDF5221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3744299" cy="134143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45964976-9C49-F0B2-AB57-69073CE49E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2108200"/>
            <a:ext cx="3744285" cy="41417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36098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01E03BE-C622-6EA8-D108-01E72E7A2B59}"/>
              </a:ext>
            </a:extLst>
          </p:cNvPr>
          <p:cNvSpPr/>
          <p:nvPr userDrawn="1"/>
        </p:nvSpPr>
        <p:spPr>
          <a:xfrm>
            <a:off x="658799" y="1465180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EDBDB2-1C9E-6316-97DF-6FAA2F41240E}"/>
              </a:ext>
            </a:extLst>
          </p:cNvPr>
          <p:cNvSpPr/>
          <p:nvPr userDrawn="1"/>
        </p:nvSpPr>
        <p:spPr>
          <a:xfrm>
            <a:off x="5759696" y="1465179"/>
            <a:ext cx="4707354" cy="4399046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0E61F4-928D-E47E-790C-50BA81522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:a16="http://schemas.microsoft.com/office/drawing/2014/main" id="{768AA2AA-41C8-255D-06B8-BBFF30F8C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13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B090E4BE-50BA-E49B-6672-0D0B2324E7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84112" y="1811328"/>
            <a:ext cx="4664509" cy="393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3092878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18391565-978C-1B2F-4335-6E485A0F343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226585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FFB27A82-35D5-2B8E-212C-7D78335BE8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3391011" cy="62579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619D428-13A4-0D93-20EE-68024FD0164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851148D5-F814-03B8-D42F-D36338D4D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4685" y="749300"/>
            <a:ext cx="8227711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19498871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920A98C3-7860-1E8E-A6D8-847264A24841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362075" y="1087438"/>
            <a:ext cx="9034463" cy="4298950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622725D-1762-043F-3353-EE3AC5D4598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397845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3547E85-ECD8-921E-B711-847582FA94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9676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06" imgH="306" progId="TCLayout.ActiveDocument.1">
                  <p:embed/>
                </p:oleObj>
              </mc:Choice>
              <mc:Fallback>
                <p:oleObj name="Diapositive think-cell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547E85-ECD8-921E-B711-847582FA94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A6B0CAB-4009-C317-5431-2E1D3BE50AD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A2D767EB-3DBF-3BDF-DE1A-D394D32FD97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/>
            <a:fld id="{197EC20F-E1CA-40E9-95A1-81880EA802A8}" type="slidenum">
              <a:rPr lang="en-US" smtClean="0"/>
              <a:pPr algn="r" rtl="0"/>
              <a:t>‹N°›</a:t>
            </a:fld>
            <a:endParaRPr lang="en-US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F4A2FB98-4D61-787B-243C-AE40FC8F8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00358010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A413F59-EA34-9428-A6CE-AC2C2A54FF6F}"/>
              </a:ext>
            </a:extLst>
          </p:cNvPr>
          <p:cNvSpPr/>
          <p:nvPr userDrawn="1"/>
        </p:nvSpPr>
        <p:spPr>
          <a:xfrm>
            <a:off x="0" y="3602024"/>
            <a:ext cx="12192000" cy="137457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D903D5C-600B-EDF3-EAB3-858656FE166F}"/>
              </a:ext>
            </a:extLst>
          </p:cNvPr>
          <p:cNvSpPr/>
          <p:nvPr userDrawn="1"/>
        </p:nvSpPr>
        <p:spPr>
          <a:xfrm>
            <a:off x="4980000" y="3602025"/>
            <a:ext cx="7212000" cy="452083"/>
          </a:xfrm>
          <a:prstGeom prst="rect">
            <a:avLst/>
          </a:prstGeom>
          <a:gradFill flip="none" rotWithShape="1">
            <a:gsLst>
              <a:gs pos="50000">
                <a:srgbClr val="0365D4"/>
              </a:gs>
              <a:gs pos="0">
                <a:schemeClr val="tx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976601"/>
            <a:ext cx="12192000" cy="18813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2945AF39-2E36-2BBD-B09E-34A01FD27F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742" y="2937458"/>
            <a:ext cx="2502000" cy="582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23069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5740286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F5199B7-67BF-5339-7267-C3C564340A6A}"/>
              </a:ext>
            </a:extLst>
          </p:cNvPr>
          <p:cNvSpPr/>
          <p:nvPr userDrawn="1"/>
        </p:nvSpPr>
        <p:spPr>
          <a:xfrm>
            <a:off x="0" y="4489704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5416" y="3301603"/>
            <a:ext cx="11038041" cy="86383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09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525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AB602E-3F75-BF95-FCDD-0F5A52ABB7AF}"/>
              </a:ext>
            </a:extLst>
          </p:cNvPr>
          <p:cNvSpPr/>
          <p:nvPr userDrawn="1"/>
        </p:nvSpPr>
        <p:spPr>
          <a:xfrm>
            <a:off x="0" y="0"/>
            <a:ext cx="12192000" cy="5740286"/>
          </a:xfrm>
          <a:prstGeom prst="rect">
            <a:avLst/>
          </a:prstGeom>
          <a:solidFill>
            <a:srgbClr val="D0DA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236CA432-0122-8F6D-2284-9E599AAF9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9775" y="3362455"/>
            <a:ext cx="5403680" cy="8638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78B66C-569E-4BA0-1B61-F8C7525D51AF}"/>
              </a:ext>
            </a:extLst>
          </p:cNvPr>
          <p:cNvSpPr/>
          <p:nvPr userDrawn="1"/>
        </p:nvSpPr>
        <p:spPr>
          <a:xfrm>
            <a:off x="0" y="4615209"/>
            <a:ext cx="12192000" cy="1250582"/>
          </a:xfrm>
          <a:prstGeom prst="rect">
            <a:avLst/>
          </a:prstGeom>
          <a:solidFill>
            <a:srgbClr val="E4EA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61702465-F9DD-0678-CBD5-60029BC2E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7620"/>
            <a:ext cx="6354762" cy="5871845"/>
          </a:xfrm>
          <a:custGeom>
            <a:avLst/>
            <a:gdLst>
              <a:gd name="connsiteX0" fmla="*/ 0 w 6354762"/>
              <a:gd name="connsiteY0" fmla="*/ 0 h 5864225"/>
              <a:gd name="connsiteX1" fmla="*/ 6354762 w 6354762"/>
              <a:gd name="connsiteY1" fmla="*/ 0 h 5864225"/>
              <a:gd name="connsiteX2" fmla="*/ 6354762 w 6354762"/>
              <a:gd name="connsiteY2" fmla="*/ 5864225 h 5864225"/>
              <a:gd name="connsiteX3" fmla="*/ 0 w 6354762"/>
              <a:gd name="connsiteY3" fmla="*/ 5864225 h 5864225"/>
              <a:gd name="connsiteX4" fmla="*/ 0 w 6354762"/>
              <a:gd name="connsiteY4" fmla="*/ 0 h 5864225"/>
              <a:gd name="connsiteX0" fmla="*/ 0 w 6354762"/>
              <a:gd name="connsiteY0" fmla="*/ 7620 h 5871845"/>
              <a:gd name="connsiteX1" fmla="*/ 479647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1552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  <a:gd name="connsiteX0" fmla="*/ 0 w 6354762"/>
              <a:gd name="connsiteY0" fmla="*/ 7620 h 5871845"/>
              <a:gd name="connsiteX1" fmla="*/ 4830762 w 6354762"/>
              <a:gd name="connsiteY1" fmla="*/ 0 h 5871845"/>
              <a:gd name="connsiteX2" fmla="*/ 6354762 w 6354762"/>
              <a:gd name="connsiteY2" fmla="*/ 5871845 h 5871845"/>
              <a:gd name="connsiteX3" fmla="*/ 0 w 6354762"/>
              <a:gd name="connsiteY3" fmla="*/ 5871845 h 5871845"/>
              <a:gd name="connsiteX4" fmla="*/ 0 w 6354762"/>
              <a:gd name="connsiteY4" fmla="*/ 7620 h 5871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4762" h="5871845">
                <a:moveTo>
                  <a:pt x="0" y="7620"/>
                </a:moveTo>
                <a:lnTo>
                  <a:pt x="4830762" y="0"/>
                </a:lnTo>
                <a:lnTo>
                  <a:pt x="6354762" y="5871845"/>
                </a:lnTo>
                <a:lnTo>
                  <a:pt x="0" y="5871845"/>
                </a:lnTo>
                <a:lnTo>
                  <a:pt x="0" y="7620"/>
                </a:lnTo>
                <a:close/>
              </a:path>
            </a:pathLst>
          </a:cu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8135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8615" y="-2"/>
            <a:ext cx="8323385" cy="6858001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9C2D8AD-1715-506C-4C50-71A457D1B6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3" y="0"/>
            <a:ext cx="3868615" cy="685800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Espace réservé du texte 15">
            <a:extLst>
              <a:ext uri="{FF2B5EF4-FFF2-40B4-BE49-F238E27FC236}">
                <a16:creationId xmlns:a16="http://schemas.microsoft.com/office/drawing/2014/main" id="{8E78691B-7AE2-48B1-84EE-3F3A5F3F60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67764" y="5039214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15">
            <a:extLst>
              <a:ext uri="{FF2B5EF4-FFF2-40B4-BE49-F238E27FC236}">
                <a16:creationId xmlns:a16="http://schemas.microsoft.com/office/drawing/2014/main" id="{1E77BB4D-36FB-D18C-A962-8154A27156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5122" y="5039898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26B32CC9-58AF-57F1-2652-427D03608D1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3358057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texte 15">
            <a:extLst>
              <a:ext uri="{FF2B5EF4-FFF2-40B4-BE49-F238E27FC236}">
                <a16:creationId xmlns:a16="http://schemas.microsoft.com/office/drawing/2014/main" id="{21448705-9BE5-B112-66F2-E4987C76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8031" y="5326145"/>
            <a:ext cx="6585665" cy="86383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2183412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6E57384B-73E8-DAF5-4448-E3CE174048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texte 15">
            <a:extLst>
              <a:ext uri="{FF2B5EF4-FFF2-40B4-BE49-F238E27FC236}">
                <a16:creationId xmlns:a16="http://schemas.microsoft.com/office/drawing/2014/main" id="{51C70AAC-1C75-615D-436C-EEB18130EA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8031" y="4562949"/>
            <a:ext cx="8003091" cy="157271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b="0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>
                <a:solidFill>
                  <a:schemeClr val="bg1"/>
                </a:solidFill>
              </a:defRPr>
            </a:lvl2pPr>
            <a:lvl3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3pPr>
            <a:lvl4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4pPr>
            <a:lvl5pPr marL="0" indent="0">
              <a:lnSpc>
                <a:spcPts val="1200"/>
              </a:lnSpc>
              <a:buFontTx/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C66A2927-A65E-5282-386A-6A70BD05CAB0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9599097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FC7383-ED87-E680-4C01-EAA876A25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54315" y="5171447"/>
            <a:ext cx="2670401" cy="86451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 b="1"/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defRPr sz="1000"/>
            </a:lvl2pPr>
            <a:lvl3pPr marL="0" indent="0">
              <a:lnSpc>
                <a:spcPts val="1200"/>
              </a:lnSpc>
              <a:buFontTx/>
              <a:buNone/>
              <a:defRPr sz="1000"/>
            </a:lvl3pPr>
            <a:lvl4pPr marL="0" indent="0">
              <a:lnSpc>
                <a:spcPts val="1200"/>
              </a:lnSpc>
              <a:buFontTx/>
              <a:buNone/>
              <a:defRPr sz="1000"/>
            </a:lvl4pPr>
            <a:lvl5pPr marL="0" indent="0">
              <a:lnSpc>
                <a:spcPts val="1200"/>
              </a:lnSpc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DBDB161D-9C5D-3E42-CE6A-7E1015B87F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567" y="5099957"/>
            <a:ext cx="6585665" cy="76426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00"/>
              </a:lnSpc>
              <a:spcBef>
                <a:spcPts val="0"/>
              </a:spcBef>
              <a:buFontTx/>
              <a:buNone/>
              <a:defRPr sz="3000" cap="all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2200"/>
              </a:lnSpc>
              <a:spcBef>
                <a:spcPts val="1200"/>
              </a:spcBef>
              <a:buFontTx/>
              <a:buNone/>
              <a:defRPr sz="1800"/>
            </a:lvl2pPr>
            <a:lvl3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3pPr>
            <a:lvl4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4pPr>
            <a:lvl5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01138A04-515B-878A-75BA-1E1A339BCAEA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4485463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59AFCB35-0403-6FEF-D822-BAEB9AAC5B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48700" y="0"/>
            <a:ext cx="3543300" cy="6257925"/>
          </a:xfrm>
          <a:custGeom>
            <a:avLst/>
            <a:gdLst>
              <a:gd name="connsiteX0" fmla="*/ 0 w 3543300"/>
              <a:gd name="connsiteY0" fmla="*/ 0 h 6257925"/>
              <a:gd name="connsiteX1" fmla="*/ 3543300 w 3543300"/>
              <a:gd name="connsiteY1" fmla="*/ 0 h 6257925"/>
              <a:gd name="connsiteX2" fmla="*/ 3543300 w 3543300"/>
              <a:gd name="connsiteY2" fmla="*/ 6086281 h 6257925"/>
              <a:gd name="connsiteX3" fmla="*/ 699300 w 3543300"/>
              <a:gd name="connsiteY3" fmla="*/ 6086281 h 6257925"/>
              <a:gd name="connsiteX4" fmla="*/ 699300 w 3543300"/>
              <a:gd name="connsiteY4" fmla="*/ 6257083 h 6257925"/>
              <a:gd name="connsiteX5" fmla="*/ 3543300 w 3543300"/>
              <a:gd name="connsiteY5" fmla="*/ 6257083 h 6257925"/>
              <a:gd name="connsiteX6" fmla="*/ 3543300 w 3543300"/>
              <a:gd name="connsiteY6" fmla="*/ 6257925 h 6257925"/>
              <a:gd name="connsiteX7" fmla="*/ 0 w 3543300"/>
              <a:gd name="connsiteY7" fmla="*/ 6257925 h 6257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43300" h="6257925">
                <a:moveTo>
                  <a:pt x="0" y="0"/>
                </a:moveTo>
                <a:lnTo>
                  <a:pt x="3543300" y="0"/>
                </a:lnTo>
                <a:lnTo>
                  <a:pt x="3543300" y="6086281"/>
                </a:lnTo>
                <a:lnTo>
                  <a:pt x="699300" y="6086281"/>
                </a:lnTo>
                <a:lnTo>
                  <a:pt x="699300" y="6257083"/>
                </a:lnTo>
                <a:lnTo>
                  <a:pt x="3543300" y="6257083"/>
                </a:lnTo>
                <a:lnTo>
                  <a:pt x="3543300" y="6257925"/>
                </a:lnTo>
                <a:lnTo>
                  <a:pt x="0" y="625792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6BA7766B-92C4-BD21-9512-02F641AFA35B}"/>
              </a:ext>
            </a:extLst>
          </p:cNvPr>
          <p:cNvSpPr txBox="1">
            <a:spLocks/>
          </p:cNvSpPr>
          <p:nvPr userDrawn="1"/>
        </p:nvSpPr>
        <p:spPr>
          <a:xfrm>
            <a:off x="11522386" y="6354525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97EC20F-E1CA-40E9-95A1-81880EA802A8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2A6459AD-62E4-7394-B1C8-3BAC043A1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7888287" cy="71587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20C4426-C117-DEA8-27FE-4478B40246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8813" y="1841500"/>
            <a:ext cx="7888287" cy="44084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624490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9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47.xml"/><Relationship Id="rId34" Type="http://schemas.openxmlformats.org/officeDocument/2006/relationships/slideLayout" Target="../slideLayouts/slideLayout60.xml"/><Relationship Id="rId42" Type="http://schemas.openxmlformats.org/officeDocument/2006/relationships/slideLayout" Target="../slideLayouts/slideLayout68.xml"/><Relationship Id="rId47" Type="http://schemas.openxmlformats.org/officeDocument/2006/relationships/tags" Target="../tags/tag3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9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slideLayout" Target="../slideLayouts/slideLayout58.xml"/><Relationship Id="rId37" Type="http://schemas.openxmlformats.org/officeDocument/2006/relationships/slideLayout" Target="../slideLayouts/slideLayout63.xml"/><Relationship Id="rId40" Type="http://schemas.openxmlformats.org/officeDocument/2006/relationships/slideLayout" Target="../slideLayouts/slideLayout66.xml"/><Relationship Id="rId45" Type="http://schemas.openxmlformats.org/officeDocument/2006/relationships/slideLayout" Target="../slideLayouts/slideLayout71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36" Type="http://schemas.openxmlformats.org/officeDocument/2006/relationships/slideLayout" Target="../slideLayouts/slideLayout62.xml"/><Relationship Id="rId49" Type="http://schemas.openxmlformats.org/officeDocument/2006/relationships/image" Target="../media/image4.emf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slideLayout" Target="../slideLayouts/slideLayout57.xml"/><Relationship Id="rId44" Type="http://schemas.openxmlformats.org/officeDocument/2006/relationships/slideLayout" Target="../slideLayouts/slideLayout70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Relationship Id="rId35" Type="http://schemas.openxmlformats.org/officeDocument/2006/relationships/slideLayout" Target="../slideLayouts/slideLayout61.xml"/><Relationship Id="rId43" Type="http://schemas.openxmlformats.org/officeDocument/2006/relationships/slideLayout" Target="../slideLayouts/slideLayout69.xml"/><Relationship Id="rId48" Type="http://schemas.openxmlformats.org/officeDocument/2006/relationships/oleObject" Target="../embeddings/oleObject2.bin"/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slideLayout" Target="../slideLayouts/slideLayout59.xml"/><Relationship Id="rId38" Type="http://schemas.openxmlformats.org/officeDocument/2006/relationships/slideLayout" Target="../slideLayouts/slideLayout64.xml"/><Relationship Id="rId46" Type="http://schemas.openxmlformats.org/officeDocument/2006/relationships/theme" Target="../theme/theme2.xml"/><Relationship Id="rId20" Type="http://schemas.openxmlformats.org/officeDocument/2006/relationships/slideLayout" Target="../slideLayouts/slideLayout46.xml"/><Relationship Id="rId41" Type="http://schemas.openxmlformats.org/officeDocument/2006/relationships/slideLayout" Target="../slideLayouts/slideLayout67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74.xml"/><Relationship Id="rId21" Type="http://schemas.openxmlformats.org/officeDocument/2006/relationships/slideLayout" Target="../slideLayouts/slideLayout92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slideLayout" Target="../slideLayouts/slideLayout91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12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97.xml"/><Relationship Id="rId21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20" Type="http://schemas.openxmlformats.org/officeDocument/2006/relationships/slideLayout" Target="../slideLayouts/slideLayout114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24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23" Type="http://schemas.openxmlformats.org/officeDocument/2006/relationships/slideLayout" Target="../slideLayouts/slideLayout117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4.xml"/><Relationship Id="rId19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Relationship Id="rId22" Type="http://schemas.openxmlformats.org/officeDocument/2006/relationships/slideLayout" Target="../slideLayouts/slideLayout116.xml"/><Relationship Id="rId27" Type="http://schemas.openxmlformats.org/officeDocument/2006/relationships/oleObject" Target="../embeddings/oleObject1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18" Type="http://schemas.openxmlformats.org/officeDocument/2006/relationships/slideLayout" Target="../slideLayouts/slideLayout136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121.xml"/><Relationship Id="rId21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5.xml"/><Relationship Id="rId25" Type="http://schemas.openxmlformats.org/officeDocument/2006/relationships/tags" Target="../tags/tag9.xml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20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3.xml"/><Relationship Id="rId23" Type="http://schemas.openxmlformats.org/officeDocument/2006/relationships/slideLayout" Target="../slideLayouts/slideLayout141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28.xml"/><Relationship Id="rId19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Relationship Id="rId22" Type="http://schemas.openxmlformats.org/officeDocument/2006/relationships/slideLayout" Target="../slideLayouts/slideLayout140.xml"/><Relationship Id="rId27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9.xml"/><Relationship Id="rId13" Type="http://schemas.openxmlformats.org/officeDocument/2006/relationships/slideLayout" Target="../slideLayouts/slideLayout154.xml"/><Relationship Id="rId18" Type="http://schemas.openxmlformats.org/officeDocument/2006/relationships/slideLayout" Target="../slideLayouts/slideLayout159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144.xml"/><Relationship Id="rId21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48.xml"/><Relationship Id="rId12" Type="http://schemas.openxmlformats.org/officeDocument/2006/relationships/slideLayout" Target="../slideLayouts/slideLayout153.xml"/><Relationship Id="rId17" Type="http://schemas.openxmlformats.org/officeDocument/2006/relationships/slideLayout" Target="../slideLayouts/slideLayout158.xml"/><Relationship Id="rId25" Type="http://schemas.openxmlformats.org/officeDocument/2006/relationships/tags" Target="../tags/tag11.xml"/><Relationship Id="rId2" Type="http://schemas.openxmlformats.org/officeDocument/2006/relationships/slideLayout" Target="../slideLayouts/slideLayout143.xml"/><Relationship Id="rId16" Type="http://schemas.openxmlformats.org/officeDocument/2006/relationships/slideLayout" Target="../slideLayouts/slideLayout157.xml"/><Relationship Id="rId20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42.xml"/><Relationship Id="rId6" Type="http://schemas.openxmlformats.org/officeDocument/2006/relationships/slideLayout" Target="../slideLayouts/slideLayout147.xml"/><Relationship Id="rId11" Type="http://schemas.openxmlformats.org/officeDocument/2006/relationships/slideLayout" Target="../slideLayouts/slideLayout152.xml"/><Relationship Id="rId24" Type="http://schemas.openxmlformats.org/officeDocument/2006/relationships/theme" Target="../theme/theme6.xml"/><Relationship Id="rId5" Type="http://schemas.openxmlformats.org/officeDocument/2006/relationships/slideLayout" Target="../slideLayouts/slideLayout146.xml"/><Relationship Id="rId15" Type="http://schemas.openxmlformats.org/officeDocument/2006/relationships/slideLayout" Target="../slideLayouts/slideLayout156.xml"/><Relationship Id="rId23" Type="http://schemas.openxmlformats.org/officeDocument/2006/relationships/slideLayout" Target="../slideLayouts/slideLayout164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51.xml"/><Relationship Id="rId19" Type="http://schemas.openxmlformats.org/officeDocument/2006/relationships/slideLayout" Target="../slideLayouts/slideLayout160.xml"/><Relationship Id="rId4" Type="http://schemas.openxmlformats.org/officeDocument/2006/relationships/slideLayout" Target="../slideLayouts/slideLayout145.xml"/><Relationship Id="rId9" Type="http://schemas.openxmlformats.org/officeDocument/2006/relationships/slideLayout" Target="../slideLayouts/slideLayout150.xml"/><Relationship Id="rId14" Type="http://schemas.openxmlformats.org/officeDocument/2006/relationships/slideLayout" Target="../slideLayouts/slideLayout155.xml"/><Relationship Id="rId22" Type="http://schemas.openxmlformats.org/officeDocument/2006/relationships/slideLayout" Target="../slideLayouts/slideLayout163.xml"/><Relationship Id="rId27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.xml"/><Relationship Id="rId13" Type="http://schemas.openxmlformats.org/officeDocument/2006/relationships/slideLayout" Target="../slideLayouts/slideLayout177.xml"/><Relationship Id="rId18" Type="http://schemas.openxmlformats.org/officeDocument/2006/relationships/slideLayout" Target="../slideLayouts/slideLayout18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67.xml"/><Relationship Id="rId21" Type="http://schemas.openxmlformats.org/officeDocument/2006/relationships/slideLayout" Target="../slideLayouts/slideLayout185.xml"/><Relationship Id="rId7" Type="http://schemas.openxmlformats.org/officeDocument/2006/relationships/slideLayout" Target="../slideLayouts/slideLayout171.xml"/><Relationship Id="rId12" Type="http://schemas.openxmlformats.org/officeDocument/2006/relationships/slideLayout" Target="../slideLayouts/slideLayout176.xml"/><Relationship Id="rId17" Type="http://schemas.openxmlformats.org/officeDocument/2006/relationships/slideLayout" Target="../slideLayouts/slideLayout181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166.xml"/><Relationship Id="rId16" Type="http://schemas.openxmlformats.org/officeDocument/2006/relationships/slideLayout" Target="../slideLayouts/slideLayout180.xml"/><Relationship Id="rId20" Type="http://schemas.openxmlformats.org/officeDocument/2006/relationships/slideLayout" Target="../slideLayouts/slideLayout184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1" Type="http://schemas.openxmlformats.org/officeDocument/2006/relationships/slideLayout" Target="../slideLayouts/slideLayout175.xml"/><Relationship Id="rId24" Type="http://schemas.openxmlformats.org/officeDocument/2006/relationships/tags" Target="../tags/tag13.xml"/><Relationship Id="rId5" Type="http://schemas.openxmlformats.org/officeDocument/2006/relationships/slideLayout" Target="../slideLayouts/slideLayout169.xml"/><Relationship Id="rId15" Type="http://schemas.openxmlformats.org/officeDocument/2006/relationships/slideLayout" Target="../slideLayouts/slideLayout179.xml"/><Relationship Id="rId23" Type="http://schemas.openxmlformats.org/officeDocument/2006/relationships/theme" Target="../theme/theme7.xml"/><Relationship Id="rId10" Type="http://schemas.openxmlformats.org/officeDocument/2006/relationships/slideLayout" Target="../slideLayouts/slideLayout174.xml"/><Relationship Id="rId19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Relationship Id="rId14" Type="http://schemas.openxmlformats.org/officeDocument/2006/relationships/slideLayout" Target="../slideLayouts/slideLayout178.xml"/><Relationship Id="rId22" Type="http://schemas.openxmlformats.org/officeDocument/2006/relationships/slideLayout" Target="../slideLayouts/slideLayout186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CD7BB64-E2F5-573D-8E4E-41FD3A91B6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831199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9" imgW="395" imgH="396" progId="TCLayout.ActiveDocument.1">
                  <p:embed/>
                </p:oleObj>
              </mc:Choice>
              <mc:Fallback>
                <p:oleObj name="Diapositive think-cell" r:id="rId29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D7BB64-E2F5-573D-8E4E-41FD3A91B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DAF11B41-731A-3A63-04B3-64F85326F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313598" cy="715879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101CC29-48BD-8F36-69FD-5ED3F1352B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799" y="2090737"/>
            <a:ext cx="10515600" cy="376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DD263EC-4AD6-FA39-5592-5692193A0E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6147" y="6363810"/>
            <a:ext cx="476250" cy="189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2725C786-719C-4477-9AA4-198BCAD76C40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13741D-32C6-FF2C-901E-2AF43142A830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95EF9803-2F20-0955-19CB-5411198E2FB9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425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1" r:id="rId2"/>
    <p:sldLayoutId id="2147483952" r:id="rId3"/>
    <p:sldLayoutId id="2147483953" r:id="rId4"/>
    <p:sldLayoutId id="2147483954" r:id="rId5"/>
    <p:sldLayoutId id="2147483955" r:id="rId6"/>
    <p:sldLayoutId id="2147483956" r:id="rId7"/>
    <p:sldLayoutId id="2147483957" r:id="rId8"/>
    <p:sldLayoutId id="2147483958" r:id="rId9"/>
    <p:sldLayoutId id="2147483959" r:id="rId10"/>
    <p:sldLayoutId id="2147483960" r:id="rId11"/>
    <p:sldLayoutId id="2147483961" r:id="rId12"/>
    <p:sldLayoutId id="2147483962" r:id="rId13"/>
    <p:sldLayoutId id="2147483963" r:id="rId14"/>
    <p:sldLayoutId id="2147483964" r:id="rId15"/>
    <p:sldLayoutId id="2147483965" r:id="rId16"/>
    <p:sldLayoutId id="2147483966" r:id="rId17"/>
    <p:sldLayoutId id="2147483967" r:id="rId18"/>
    <p:sldLayoutId id="2147483968" r:id="rId19"/>
    <p:sldLayoutId id="2147483969" r:id="rId20"/>
    <p:sldLayoutId id="2147483970" r:id="rId21"/>
    <p:sldLayoutId id="2147483971" r:id="rId22"/>
    <p:sldLayoutId id="2147483972" r:id="rId23"/>
    <p:sldLayoutId id="2147483973" r:id="rId24"/>
    <p:sldLayoutId id="2147483975" r:id="rId25"/>
    <p:sldLayoutId id="2147484557" r:id="rId2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250" b="0" kern="1200" cap="all" baseline="0" dirty="0">
          <a:solidFill>
            <a:schemeClr val="tx2"/>
          </a:solidFill>
          <a:latin typeface="+mj-lt"/>
          <a:ea typeface="+mn-ea"/>
          <a:cs typeface="+mn-cs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16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3700" indent="-2286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942">
          <p15:clr>
            <a:srgbClr val="F26B43"/>
          </p15:clr>
        </p15:guide>
        <p15:guide id="4" orient="horz" pos="1317">
          <p15:clr>
            <a:srgbClr val="F26B43"/>
          </p15:clr>
        </p15:guide>
        <p15:guide id="5" orient="horz" pos="369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601866E4-D7A3-6FFC-4A03-7229FF33F9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2239648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8" imgW="395" imgH="394" progId="TCLayout.ActiveDocument.1">
                  <p:embed/>
                </p:oleObj>
              </mc:Choice>
              <mc:Fallback>
                <p:oleObj name="Diapositive think-cell" r:id="rId48" imgW="395" imgH="394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601866E4-D7A3-6FFC-4A03-7229FF33F9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78508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7" r:id="rId1"/>
    <p:sldLayoutId id="2147484568" r:id="rId2"/>
    <p:sldLayoutId id="2147484569" r:id="rId3"/>
    <p:sldLayoutId id="2147484570" r:id="rId4"/>
    <p:sldLayoutId id="2147484571" r:id="rId5"/>
    <p:sldLayoutId id="2147484572" r:id="rId6"/>
    <p:sldLayoutId id="2147484573" r:id="rId7"/>
    <p:sldLayoutId id="2147484574" r:id="rId8"/>
    <p:sldLayoutId id="2147484575" r:id="rId9"/>
    <p:sldLayoutId id="2147484576" r:id="rId10"/>
    <p:sldLayoutId id="2147484577" r:id="rId11"/>
    <p:sldLayoutId id="2147484578" r:id="rId12"/>
    <p:sldLayoutId id="2147484579" r:id="rId13"/>
    <p:sldLayoutId id="2147484580" r:id="rId14"/>
    <p:sldLayoutId id="2147484581" r:id="rId15"/>
    <p:sldLayoutId id="2147484582" r:id="rId16"/>
    <p:sldLayoutId id="2147484583" r:id="rId17"/>
    <p:sldLayoutId id="2147484584" r:id="rId18"/>
    <p:sldLayoutId id="2147484585" r:id="rId19"/>
    <p:sldLayoutId id="2147484586" r:id="rId20"/>
    <p:sldLayoutId id="2147484587" r:id="rId21"/>
    <p:sldLayoutId id="2147485120" r:id="rId22"/>
    <p:sldLayoutId id="2147485121" r:id="rId23"/>
    <p:sldLayoutId id="2147485122" r:id="rId24"/>
    <p:sldLayoutId id="2147485315" r:id="rId25"/>
    <p:sldLayoutId id="2147485316" r:id="rId26"/>
    <p:sldLayoutId id="2147485317" r:id="rId27"/>
    <p:sldLayoutId id="2147485318" r:id="rId28"/>
    <p:sldLayoutId id="2147485319" r:id="rId29"/>
    <p:sldLayoutId id="2147485320" r:id="rId30"/>
    <p:sldLayoutId id="2147485321" r:id="rId31"/>
    <p:sldLayoutId id="2147485322" r:id="rId32"/>
    <p:sldLayoutId id="2147485323" r:id="rId33"/>
    <p:sldLayoutId id="2147485324" r:id="rId34"/>
    <p:sldLayoutId id="2147485325" r:id="rId35"/>
    <p:sldLayoutId id="2147485326" r:id="rId36"/>
    <p:sldLayoutId id="2147485327" r:id="rId37"/>
    <p:sldLayoutId id="2147485328" r:id="rId38"/>
    <p:sldLayoutId id="2147485329" r:id="rId39"/>
    <p:sldLayoutId id="2147485330" r:id="rId40"/>
    <p:sldLayoutId id="2147485331" r:id="rId41"/>
    <p:sldLayoutId id="2147485332" r:id="rId42"/>
    <p:sldLayoutId id="2147485333" r:id="rId43"/>
    <p:sldLayoutId id="2147485334" r:id="rId44"/>
    <p:sldLayoutId id="2147485335" r:id="rId4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1CC35DB-13F5-C5E0-A11F-FA49EFEE2B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47578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6" imgW="395" imgH="396" progId="TCLayout.ActiveDocument.1">
                  <p:embed/>
                </p:oleObj>
              </mc:Choice>
              <mc:Fallback>
                <p:oleObj name="Diapositive think-cell" r:id="rId2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CC35DB-13F5-C5E0-A11F-FA49EFEE2B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DAF11B41-731A-3A63-04B3-64F85326F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313598" cy="715879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101CC29-48BD-8F36-69FD-5ED3F1352B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799" y="2090737"/>
            <a:ext cx="10515600" cy="376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DD263EC-4AD6-FA39-5592-5692193A0E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6147" y="6363810"/>
            <a:ext cx="476250" cy="189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2725C786-719C-4477-9AA4-198BCAD76C40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13741D-32C6-FF2C-901E-2AF43142A830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95EF9803-2F20-0955-19CB-5411198E2FB9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766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6" r:id="rId1"/>
    <p:sldLayoutId id="2147484667" r:id="rId2"/>
    <p:sldLayoutId id="2147484668" r:id="rId3"/>
    <p:sldLayoutId id="2147484669" r:id="rId4"/>
    <p:sldLayoutId id="2147484670" r:id="rId5"/>
    <p:sldLayoutId id="2147484671" r:id="rId6"/>
    <p:sldLayoutId id="2147484672" r:id="rId7"/>
    <p:sldLayoutId id="2147484673" r:id="rId8"/>
    <p:sldLayoutId id="2147484674" r:id="rId9"/>
    <p:sldLayoutId id="2147484675" r:id="rId10"/>
    <p:sldLayoutId id="2147484676" r:id="rId11"/>
    <p:sldLayoutId id="2147484677" r:id="rId12"/>
    <p:sldLayoutId id="2147484678" r:id="rId13"/>
    <p:sldLayoutId id="2147484679" r:id="rId14"/>
    <p:sldLayoutId id="2147484680" r:id="rId15"/>
    <p:sldLayoutId id="2147484681" r:id="rId16"/>
    <p:sldLayoutId id="2147484682" r:id="rId17"/>
    <p:sldLayoutId id="2147484683" r:id="rId18"/>
    <p:sldLayoutId id="2147484684" r:id="rId19"/>
    <p:sldLayoutId id="2147484685" r:id="rId20"/>
    <p:sldLayoutId id="2147484686" r:id="rId21"/>
    <p:sldLayoutId id="2147484687" r:id="rId22"/>
    <p:sldLayoutId id="2147484688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250" b="0" kern="1200" cap="all" baseline="0" dirty="0">
          <a:solidFill>
            <a:schemeClr val="tx2"/>
          </a:solidFill>
          <a:latin typeface="+mj-lt"/>
          <a:ea typeface="+mn-ea"/>
          <a:cs typeface="+mn-cs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16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3700" indent="-2286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942">
          <p15:clr>
            <a:srgbClr val="F26B43"/>
          </p15:clr>
        </p15:guide>
        <p15:guide id="4" orient="horz" pos="1317">
          <p15:clr>
            <a:srgbClr val="F26B43"/>
          </p15:clr>
        </p15:guide>
        <p15:guide id="5" orient="horz" pos="369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881F676-C93F-7635-5CDB-F755A9ABD1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40575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7" imgW="395" imgH="396" progId="TCLayout.ActiveDocument.1">
                  <p:embed/>
                </p:oleObj>
              </mc:Choice>
              <mc:Fallback>
                <p:oleObj name="Diapositive think-cell" r:id="rId27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81F676-C93F-7635-5CDB-F755A9ABD1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DAF11B41-731A-3A63-04B3-64F85326F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313598" cy="715879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101CC29-48BD-8F36-69FD-5ED3F1352B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799" y="2090737"/>
            <a:ext cx="10515600" cy="376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DD263EC-4AD6-FA39-5592-5692193A0E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6147" y="6363810"/>
            <a:ext cx="476250" cy="189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2725C786-719C-4477-9AA4-198BCAD76C40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13741D-32C6-FF2C-901E-2AF43142A830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95EF9803-2F20-0955-19CB-5411198E2FB9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7221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78" r:id="rId1"/>
    <p:sldLayoutId id="2147484979" r:id="rId2"/>
    <p:sldLayoutId id="2147484980" r:id="rId3"/>
    <p:sldLayoutId id="2147484981" r:id="rId4"/>
    <p:sldLayoutId id="2147484982" r:id="rId5"/>
    <p:sldLayoutId id="2147484983" r:id="rId6"/>
    <p:sldLayoutId id="2147484984" r:id="rId7"/>
    <p:sldLayoutId id="2147484985" r:id="rId8"/>
    <p:sldLayoutId id="2147484986" r:id="rId9"/>
    <p:sldLayoutId id="2147484987" r:id="rId10"/>
    <p:sldLayoutId id="2147484988" r:id="rId11"/>
    <p:sldLayoutId id="2147484989" r:id="rId12"/>
    <p:sldLayoutId id="2147484990" r:id="rId13"/>
    <p:sldLayoutId id="2147484991" r:id="rId14"/>
    <p:sldLayoutId id="2147484992" r:id="rId15"/>
    <p:sldLayoutId id="2147484993" r:id="rId16"/>
    <p:sldLayoutId id="2147484994" r:id="rId17"/>
    <p:sldLayoutId id="2147484995" r:id="rId18"/>
    <p:sldLayoutId id="2147484996" r:id="rId19"/>
    <p:sldLayoutId id="2147484997" r:id="rId20"/>
    <p:sldLayoutId id="2147484998" r:id="rId21"/>
    <p:sldLayoutId id="2147484999" r:id="rId22"/>
    <p:sldLayoutId id="2147485000" r:id="rId23"/>
    <p:sldLayoutId id="2147485001" r:id="rId2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250" b="0" kern="1200" cap="all" baseline="0" dirty="0">
          <a:solidFill>
            <a:schemeClr val="tx2"/>
          </a:solidFill>
          <a:latin typeface="+mj-lt"/>
          <a:ea typeface="+mn-ea"/>
          <a:cs typeface="+mn-cs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16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3700" indent="-2286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942">
          <p15:clr>
            <a:srgbClr val="F26B43"/>
          </p15:clr>
        </p15:guide>
        <p15:guide id="4" orient="horz" pos="1317">
          <p15:clr>
            <a:srgbClr val="F26B43"/>
          </p15:clr>
        </p15:guide>
        <p15:guide id="5" orient="horz" pos="369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1BBDCD0-8C8C-E012-8446-E6F1354F01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771883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6" imgW="395" imgH="396" progId="TCLayout.ActiveDocument.1">
                  <p:embed/>
                </p:oleObj>
              </mc:Choice>
              <mc:Fallback>
                <p:oleObj name="Diapositive think-cell" r:id="rId2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BBDCD0-8C8C-E012-8446-E6F1354F01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DAF11B41-731A-3A63-04B3-64F85326F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313598" cy="715879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101CC29-48BD-8F36-69FD-5ED3F1352B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799" y="2090737"/>
            <a:ext cx="10515600" cy="376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DD263EC-4AD6-FA39-5592-5692193A0E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6147" y="6363810"/>
            <a:ext cx="476250" cy="189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2725C786-719C-4477-9AA4-198BCAD76C40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13741D-32C6-FF2C-901E-2AF43142A830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95EF9803-2F20-0955-19CB-5411198E2FB9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34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03" r:id="rId1"/>
    <p:sldLayoutId id="2147485004" r:id="rId2"/>
    <p:sldLayoutId id="2147485005" r:id="rId3"/>
    <p:sldLayoutId id="2147485006" r:id="rId4"/>
    <p:sldLayoutId id="2147485007" r:id="rId5"/>
    <p:sldLayoutId id="2147485008" r:id="rId6"/>
    <p:sldLayoutId id="2147485009" r:id="rId7"/>
    <p:sldLayoutId id="2147485010" r:id="rId8"/>
    <p:sldLayoutId id="2147485011" r:id="rId9"/>
    <p:sldLayoutId id="2147485012" r:id="rId10"/>
    <p:sldLayoutId id="2147485013" r:id="rId11"/>
    <p:sldLayoutId id="2147485014" r:id="rId12"/>
    <p:sldLayoutId id="2147485015" r:id="rId13"/>
    <p:sldLayoutId id="2147485016" r:id="rId14"/>
    <p:sldLayoutId id="2147485017" r:id="rId15"/>
    <p:sldLayoutId id="2147485018" r:id="rId16"/>
    <p:sldLayoutId id="2147485019" r:id="rId17"/>
    <p:sldLayoutId id="2147485020" r:id="rId18"/>
    <p:sldLayoutId id="2147485021" r:id="rId19"/>
    <p:sldLayoutId id="2147485022" r:id="rId20"/>
    <p:sldLayoutId id="2147485023" r:id="rId21"/>
    <p:sldLayoutId id="2147485024" r:id="rId22"/>
    <p:sldLayoutId id="2147485025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250" b="0" kern="1200" cap="all" baseline="0" dirty="0">
          <a:solidFill>
            <a:schemeClr val="tx2"/>
          </a:solidFill>
          <a:latin typeface="+mj-lt"/>
          <a:ea typeface="+mn-ea"/>
          <a:cs typeface="+mn-cs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16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3700" indent="-2286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942">
          <p15:clr>
            <a:srgbClr val="F26B43"/>
          </p15:clr>
        </p15:guide>
        <p15:guide id="4" orient="horz" pos="1317">
          <p15:clr>
            <a:srgbClr val="F26B43"/>
          </p15:clr>
        </p15:guide>
        <p15:guide id="5" orient="horz" pos="369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8AB3EF8-19DB-5A35-B16C-7C81A6098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540644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6" imgW="395" imgH="396" progId="TCLayout.ActiveDocument.1">
                  <p:embed/>
                </p:oleObj>
              </mc:Choice>
              <mc:Fallback>
                <p:oleObj name="Diapositive think-cell" r:id="rId26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AB3EF8-19DB-5A35-B16C-7C81A6098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DAF11B41-731A-3A63-04B3-64F85326F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313598" cy="715879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101CC29-48BD-8F36-69FD-5ED3F1352B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799" y="2090737"/>
            <a:ext cx="10515600" cy="376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DD263EC-4AD6-FA39-5592-5692193A0E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6147" y="6363810"/>
            <a:ext cx="476250" cy="189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2725C786-719C-4477-9AA4-198BCAD76C40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13741D-32C6-FF2C-901E-2AF43142A830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95EF9803-2F20-0955-19CB-5411198E2FB9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72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7" r:id="rId1"/>
    <p:sldLayoutId id="2147485028" r:id="rId2"/>
    <p:sldLayoutId id="2147485029" r:id="rId3"/>
    <p:sldLayoutId id="2147485030" r:id="rId4"/>
    <p:sldLayoutId id="2147485031" r:id="rId5"/>
    <p:sldLayoutId id="2147485032" r:id="rId6"/>
    <p:sldLayoutId id="2147485033" r:id="rId7"/>
    <p:sldLayoutId id="2147485034" r:id="rId8"/>
    <p:sldLayoutId id="2147485035" r:id="rId9"/>
    <p:sldLayoutId id="2147485036" r:id="rId10"/>
    <p:sldLayoutId id="2147485037" r:id="rId11"/>
    <p:sldLayoutId id="2147485038" r:id="rId12"/>
    <p:sldLayoutId id="2147485039" r:id="rId13"/>
    <p:sldLayoutId id="2147485040" r:id="rId14"/>
    <p:sldLayoutId id="2147485041" r:id="rId15"/>
    <p:sldLayoutId id="2147485042" r:id="rId16"/>
    <p:sldLayoutId id="2147485043" r:id="rId17"/>
    <p:sldLayoutId id="2147485044" r:id="rId18"/>
    <p:sldLayoutId id="2147485045" r:id="rId19"/>
    <p:sldLayoutId id="2147485046" r:id="rId20"/>
    <p:sldLayoutId id="2147485047" r:id="rId21"/>
    <p:sldLayoutId id="2147485048" r:id="rId22"/>
    <p:sldLayoutId id="2147485049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250" b="0" kern="1200" cap="all" baseline="0" dirty="0">
          <a:solidFill>
            <a:schemeClr val="tx2"/>
          </a:solidFill>
          <a:latin typeface="+mj-lt"/>
          <a:ea typeface="+mn-ea"/>
          <a:cs typeface="+mn-cs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16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3700" indent="-2286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942">
          <p15:clr>
            <a:srgbClr val="F26B43"/>
          </p15:clr>
        </p15:guide>
        <p15:guide id="4" orient="horz" pos="1317">
          <p15:clr>
            <a:srgbClr val="F26B43"/>
          </p15:clr>
        </p15:guide>
        <p15:guide id="5" orient="horz" pos="369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9CFBDA4-C358-8488-021B-EA72460414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141508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5" imgW="395" imgH="396" progId="TCLayout.ActiveDocument.1">
                  <p:embed/>
                </p:oleObj>
              </mc:Choice>
              <mc:Fallback>
                <p:oleObj name="Diapositive think-cell" r:id="rId25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CFBDA4-C358-8488-021B-EA72460414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DAF11B41-731A-3A63-04B3-64F85326F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313598" cy="715879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101CC29-48BD-8F36-69FD-5ED3F1352B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799" y="2090737"/>
            <a:ext cx="10515600" cy="376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DD263EC-4AD6-FA39-5592-5692193A0E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6147" y="6363810"/>
            <a:ext cx="476250" cy="189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2725C786-719C-4477-9AA4-198BCAD76C40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13741D-32C6-FF2C-901E-2AF43142A830}"/>
              </a:ext>
            </a:extLst>
          </p:cNvPr>
          <p:cNvSpPr/>
          <p:nvPr userDrawn="1"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95EF9803-2F20-0955-19CB-5411198E2FB9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00" y="6351905"/>
            <a:ext cx="1350000" cy="314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00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4" r:id="rId1"/>
    <p:sldLayoutId id="2147485265" r:id="rId2"/>
    <p:sldLayoutId id="2147485266" r:id="rId3"/>
    <p:sldLayoutId id="2147485267" r:id="rId4"/>
    <p:sldLayoutId id="2147485268" r:id="rId5"/>
    <p:sldLayoutId id="2147485269" r:id="rId6"/>
    <p:sldLayoutId id="2147485270" r:id="rId7"/>
    <p:sldLayoutId id="2147485271" r:id="rId8"/>
    <p:sldLayoutId id="2147485272" r:id="rId9"/>
    <p:sldLayoutId id="2147485273" r:id="rId10"/>
    <p:sldLayoutId id="2147485274" r:id="rId11"/>
    <p:sldLayoutId id="2147485275" r:id="rId12"/>
    <p:sldLayoutId id="2147485276" r:id="rId13"/>
    <p:sldLayoutId id="2147485277" r:id="rId14"/>
    <p:sldLayoutId id="2147485278" r:id="rId15"/>
    <p:sldLayoutId id="2147485279" r:id="rId16"/>
    <p:sldLayoutId id="2147485280" r:id="rId17"/>
    <p:sldLayoutId id="2147485281" r:id="rId18"/>
    <p:sldLayoutId id="2147485282" r:id="rId19"/>
    <p:sldLayoutId id="2147485284" r:id="rId20"/>
    <p:sldLayoutId id="2147485285" r:id="rId21"/>
    <p:sldLayoutId id="2147485286" r:id="rId2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250" b="0" kern="1200" cap="all" baseline="0" dirty="0">
          <a:solidFill>
            <a:schemeClr val="tx2"/>
          </a:solidFill>
          <a:latin typeface="+mj-lt"/>
          <a:ea typeface="+mn-ea"/>
          <a:cs typeface="+mn-cs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16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3700" indent="-2286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39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942">
          <p15:clr>
            <a:srgbClr val="F26B43"/>
          </p15:clr>
        </p15:guide>
        <p15:guide id="4" orient="horz" pos="1317">
          <p15:clr>
            <a:srgbClr val="F26B43"/>
          </p15:clr>
        </p15:guide>
        <p15:guide id="5" orient="horz" pos="369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jpe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89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1.xml"/><Relationship Id="rId6" Type="http://schemas.openxmlformats.org/officeDocument/2006/relationships/image" Target="../media/image88.jpeg"/><Relationship Id="rId5" Type="http://schemas.openxmlformats.org/officeDocument/2006/relationships/image" Target="../media/image4.emf"/><Relationship Id="rId10" Type="http://schemas.openxmlformats.org/officeDocument/2006/relationships/image" Target="../media/image92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91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jp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94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2.xml"/><Relationship Id="rId6" Type="http://schemas.openxmlformats.org/officeDocument/2006/relationships/image" Target="../media/image93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97.png"/><Relationship Id="rId2" Type="http://schemas.openxmlformats.org/officeDocument/2006/relationships/slideLayout" Target="../slideLayouts/slideLayout82.xml"/><Relationship Id="rId1" Type="http://schemas.openxmlformats.org/officeDocument/2006/relationships/tags" Target="../tags/tag23.xml"/><Relationship Id="rId6" Type="http://schemas.openxmlformats.org/officeDocument/2006/relationships/image" Target="../media/image96.png"/><Relationship Id="rId11" Type="http://schemas.openxmlformats.org/officeDocument/2006/relationships/image" Target="../media/image75.jpg"/><Relationship Id="rId5" Type="http://schemas.openxmlformats.org/officeDocument/2006/relationships/image" Target="../media/image95.png"/><Relationship Id="rId10" Type="http://schemas.openxmlformats.org/officeDocument/2006/relationships/image" Target="../media/image70.png"/><Relationship Id="rId4" Type="http://schemas.openxmlformats.org/officeDocument/2006/relationships/image" Target="../media/image1.emf"/><Relationship Id="rId9" Type="http://schemas.openxmlformats.org/officeDocument/2006/relationships/image" Target="../media/image9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01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.xml"/><Relationship Id="rId6" Type="http://schemas.openxmlformats.org/officeDocument/2006/relationships/image" Target="../media/image100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0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Relationship Id="rId6" Type="http://schemas.openxmlformats.org/officeDocument/2006/relationships/image" Target="../media/image102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13" Type="http://schemas.openxmlformats.org/officeDocument/2006/relationships/image" Target="../media/image110.png"/><Relationship Id="rId18" Type="http://schemas.openxmlformats.org/officeDocument/2006/relationships/image" Target="../media/image114.png"/><Relationship Id="rId3" Type="http://schemas.openxmlformats.org/officeDocument/2006/relationships/tags" Target="../tags/tag28.xml"/><Relationship Id="rId7" Type="http://schemas.openxmlformats.org/officeDocument/2006/relationships/image" Target="../media/image105.png"/><Relationship Id="rId12" Type="http://schemas.openxmlformats.org/officeDocument/2006/relationships/image" Target="../media/image109.svg"/><Relationship Id="rId17" Type="http://schemas.microsoft.com/office/2007/relationships/hdphoto" Target="../media/hdphoto1.wdp"/><Relationship Id="rId2" Type="http://schemas.openxmlformats.org/officeDocument/2006/relationships/tags" Target="../tags/tag27.xml"/><Relationship Id="rId16" Type="http://schemas.openxmlformats.org/officeDocument/2006/relationships/image" Target="../media/image113.png"/><Relationship Id="rId20" Type="http://schemas.openxmlformats.org/officeDocument/2006/relationships/image" Target="../media/image77.png"/><Relationship Id="rId1" Type="http://schemas.openxmlformats.org/officeDocument/2006/relationships/tags" Target="../tags/tag26.xml"/><Relationship Id="rId6" Type="http://schemas.openxmlformats.org/officeDocument/2006/relationships/image" Target="../media/image104.png"/><Relationship Id="rId11" Type="http://schemas.openxmlformats.org/officeDocument/2006/relationships/image" Target="../media/image17.png"/><Relationship Id="rId5" Type="http://schemas.openxmlformats.org/officeDocument/2006/relationships/notesSlide" Target="../notesSlides/notesSlide12.xml"/><Relationship Id="rId15" Type="http://schemas.openxmlformats.org/officeDocument/2006/relationships/image" Target="../media/image112.png"/><Relationship Id="rId10" Type="http://schemas.openxmlformats.org/officeDocument/2006/relationships/image" Target="../media/image108.png"/><Relationship Id="rId19" Type="http://schemas.openxmlformats.org/officeDocument/2006/relationships/image" Target="../media/image84.png"/><Relationship Id="rId4" Type="http://schemas.openxmlformats.org/officeDocument/2006/relationships/slideLayout" Target="../slideLayouts/slideLayout174.xml"/><Relationship Id="rId9" Type="http://schemas.openxmlformats.org/officeDocument/2006/relationships/image" Target="../media/image107.png"/><Relationship Id="rId14" Type="http://schemas.openxmlformats.org/officeDocument/2006/relationships/image" Target="../media/image11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chart" Target="../charts/chart1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9.xml"/><Relationship Id="rId6" Type="http://schemas.openxmlformats.org/officeDocument/2006/relationships/image" Target="../media/image116.svg"/><Relationship Id="rId5" Type="http://schemas.openxmlformats.org/officeDocument/2006/relationships/image" Target="../media/image115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jpe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18.jpeg"/><Relationship Id="rId2" Type="http://schemas.openxmlformats.org/officeDocument/2006/relationships/slideLayout" Target="../slideLayouts/slideLayout152.xml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17.jpeg"/><Relationship Id="rId9" Type="http://schemas.openxmlformats.org/officeDocument/2006/relationships/image" Target="../media/image120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svg"/><Relationship Id="rId13" Type="http://schemas.openxmlformats.org/officeDocument/2006/relationships/image" Target="../media/image127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21.png"/><Relationship Id="rId12" Type="http://schemas.openxmlformats.org/officeDocument/2006/relationships/image" Target="../media/image126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chart" Target="../charts/chart2.xml"/><Relationship Id="rId11" Type="http://schemas.openxmlformats.org/officeDocument/2006/relationships/image" Target="../media/image125.png"/><Relationship Id="rId5" Type="http://schemas.openxmlformats.org/officeDocument/2006/relationships/image" Target="../media/image1.emf"/><Relationship Id="rId10" Type="http://schemas.openxmlformats.org/officeDocument/2006/relationships/image" Target="../media/image124.jpe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23.png"/><Relationship Id="rId14" Type="http://schemas.openxmlformats.org/officeDocument/2006/relationships/image" Target="../media/image128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jpeg"/><Relationship Id="rId13" Type="http://schemas.openxmlformats.org/officeDocument/2006/relationships/image" Target="../media/image133.jp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30.png"/><Relationship Id="rId12" Type="http://schemas.openxmlformats.org/officeDocument/2006/relationships/image" Target="../media/image77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3.xml"/><Relationship Id="rId6" Type="http://schemas.openxmlformats.org/officeDocument/2006/relationships/image" Target="../media/image129.png"/><Relationship Id="rId11" Type="http://schemas.openxmlformats.org/officeDocument/2006/relationships/image" Target="../media/image122.svg"/><Relationship Id="rId5" Type="http://schemas.openxmlformats.org/officeDocument/2006/relationships/image" Target="../media/image1.emf"/><Relationship Id="rId10" Type="http://schemas.openxmlformats.org/officeDocument/2006/relationships/image" Target="../media/image121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32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image" Target="../media/image18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2.jpeg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129.xml"/><Relationship Id="rId16" Type="http://schemas.openxmlformats.org/officeDocument/2006/relationships/image" Target="../media/image21.png"/><Relationship Id="rId1" Type="http://schemas.openxmlformats.org/officeDocument/2006/relationships/tags" Target="../tags/tag14.xml"/><Relationship Id="rId6" Type="http://schemas.openxmlformats.org/officeDocument/2006/relationships/image" Target="../media/image11.jpeg"/><Relationship Id="rId11" Type="http://schemas.openxmlformats.org/officeDocument/2006/relationships/image" Target="../media/image16.svg"/><Relationship Id="rId5" Type="http://schemas.openxmlformats.org/officeDocument/2006/relationships/image" Target="../media/image1.emf"/><Relationship Id="rId15" Type="http://schemas.openxmlformats.org/officeDocument/2006/relationships/image" Target="../media/image20.svg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4.jpeg"/><Relationship Id="rId14" Type="http://schemas.openxmlformats.org/officeDocument/2006/relationships/image" Target="../media/image1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4.xml"/><Relationship Id="rId6" Type="http://schemas.openxmlformats.org/officeDocument/2006/relationships/chart" Target="../charts/chart3.xml"/><Relationship Id="rId5" Type="http://schemas.openxmlformats.org/officeDocument/2006/relationships/image" Target="../media/image134.jpeg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7.png"/><Relationship Id="rId13" Type="http://schemas.openxmlformats.org/officeDocument/2006/relationships/image" Target="../media/image142.jpe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36.png"/><Relationship Id="rId12" Type="http://schemas.openxmlformats.org/officeDocument/2006/relationships/image" Target="../media/image141.jpeg"/><Relationship Id="rId17" Type="http://schemas.openxmlformats.org/officeDocument/2006/relationships/image" Target="../media/image146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45.png"/><Relationship Id="rId1" Type="http://schemas.openxmlformats.org/officeDocument/2006/relationships/tags" Target="../tags/tag35.xml"/><Relationship Id="rId6" Type="http://schemas.openxmlformats.org/officeDocument/2006/relationships/image" Target="../media/image135.png"/><Relationship Id="rId11" Type="http://schemas.openxmlformats.org/officeDocument/2006/relationships/image" Target="../media/image140.png"/><Relationship Id="rId5" Type="http://schemas.openxmlformats.org/officeDocument/2006/relationships/image" Target="../media/image1.emf"/><Relationship Id="rId15" Type="http://schemas.openxmlformats.org/officeDocument/2006/relationships/image" Target="../media/image144.png"/><Relationship Id="rId10" Type="http://schemas.openxmlformats.org/officeDocument/2006/relationships/image" Target="../media/image139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38.png"/><Relationship Id="rId14" Type="http://schemas.openxmlformats.org/officeDocument/2006/relationships/image" Target="../media/image14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6.xml"/><Relationship Id="rId6" Type="http://schemas.openxmlformats.org/officeDocument/2006/relationships/image" Target="../media/image148.jpeg"/><Relationship Id="rId5" Type="http://schemas.openxmlformats.org/officeDocument/2006/relationships/image" Target="../media/image147.jpe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0.png"/><Relationship Id="rId3" Type="http://schemas.openxmlformats.org/officeDocument/2006/relationships/image" Target="../media/image130.png"/><Relationship Id="rId7" Type="http://schemas.microsoft.com/office/2007/relationships/hdphoto" Target="../media/hdphoto2.wdp"/><Relationship Id="rId2" Type="http://schemas.openxmlformats.org/officeDocument/2006/relationships/image" Target="../media/image129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49.png"/><Relationship Id="rId5" Type="http://schemas.openxmlformats.org/officeDocument/2006/relationships/image" Target="../media/image77.png"/><Relationship Id="rId4" Type="http://schemas.openxmlformats.org/officeDocument/2006/relationships/image" Target="../media/image110.png"/><Relationship Id="rId9" Type="http://schemas.openxmlformats.org/officeDocument/2006/relationships/image" Target="../media/image15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29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Relationship Id="rId9" Type="http://schemas.openxmlformats.org/officeDocument/2006/relationships/image" Target="../media/image29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13" Type="http://schemas.openxmlformats.org/officeDocument/2006/relationships/image" Target="../media/image37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1.jpeg"/><Relationship Id="rId12" Type="http://schemas.openxmlformats.org/officeDocument/2006/relationships/image" Target="../media/image36.jpeg"/><Relationship Id="rId17" Type="http://schemas.openxmlformats.org/officeDocument/2006/relationships/image" Target="../media/image41.png"/><Relationship Id="rId2" Type="http://schemas.openxmlformats.org/officeDocument/2006/relationships/slideLayout" Target="../slideLayouts/slideLayout118.xml"/><Relationship Id="rId16" Type="http://schemas.openxmlformats.org/officeDocument/2006/relationships/image" Target="../media/image40.png"/><Relationship Id="rId1" Type="http://schemas.openxmlformats.org/officeDocument/2006/relationships/tags" Target="../tags/tag15.xml"/><Relationship Id="rId6" Type="http://schemas.openxmlformats.org/officeDocument/2006/relationships/image" Target="../media/image30.jpeg"/><Relationship Id="rId11" Type="http://schemas.openxmlformats.org/officeDocument/2006/relationships/image" Target="../media/image35.jpeg"/><Relationship Id="rId5" Type="http://schemas.openxmlformats.org/officeDocument/2006/relationships/image" Target="../media/image1.emf"/><Relationship Id="rId15" Type="http://schemas.openxmlformats.org/officeDocument/2006/relationships/image" Target="../media/image39.png"/><Relationship Id="rId10" Type="http://schemas.openxmlformats.org/officeDocument/2006/relationships/image" Target="../media/image34.jpeg"/><Relationship Id="rId4" Type="http://schemas.openxmlformats.org/officeDocument/2006/relationships/oleObject" Target="../embeddings/oleObject6.bin"/><Relationship Id="rId9" Type="http://schemas.openxmlformats.org/officeDocument/2006/relationships/image" Target="../media/image33.jpeg"/><Relationship Id="rId14" Type="http://schemas.openxmlformats.org/officeDocument/2006/relationships/image" Target="../media/image38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3.svg"/><Relationship Id="rId12" Type="http://schemas.openxmlformats.org/officeDocument/2006/relationships/image" Target="../media/image48.png"/><Relationship Id="rId2" Type="http://schemas.openxmlformats.org/officeDocument/2006/relationships/slideLayout" Target="../slideLayouts/slideLayout106.xml"/><Relationship Id="rId16" Type="http://schemas.openxmlformats.org/officeDocument/2006/relationships/image" Target="../media/image21.png"/><Relationship Id="rId1" Type="http://schemas.openxmlformats.org/officeDocument/2006/relationships/tags" Target="../tags/tag16.xml"/><Relationship Id="rId6" Type="http://schemas.openxmlformats.org/officeDocument/2006/relationships/image" Target="../media/image42.png"/><Relationship Id="rId11" Type="http://schemas.openxmlformats.org/officeDocument/2006/relationships/image" Target="../media/image47.svg"/><Relationship Id="rId5" Type="http://schemas.openxmlformats.org/officeDocument/2006/relationships/image" Target="../media/image1.emf"/><Relationship Id="rId15" Type="http://schemas.openxmlformats.org/officeDocument/2006/relationships/image" Target="../media/image51.svg"/><Relationship Id="rId10" Type="http://schemas.openxmlformats.org/officeDocument/2006/relationships/image" Target="../media/image46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45.svg"/><Relationship Id="rId14" Type="http://schemas.openxmlformats.org/officeDocument/2006/relationships/image" Target="../media/image5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3.jpeg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11" Type="http://schemas.openxmlformats.org/officeDocument/2006/relationships/image" Target="../media/image57.jpe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56.jpeg"/><Relationship Id="rId4" Type="http://schemas.openxmlformats.org/officeDocument/2006/relationships/image" Target="../media/image52.jpeg"/><Relationship Id="rId9" Type="http://schemas.openxmlformats.org/officeDocument/2006/relationships/image" Target="../media/image55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59.jpeg"/><Relationship Id="rId12" Type="http://schemas.openxmlformats.org/officeDocument/2006/relationships/image" Target="../media/image64.jpeg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8.xml"/><Relationship Id="rId6" Type="http://schemas.openxmlformats.org/officeDocument/2006/relationships/image" Target="../media/image58.jpeg"/><Relationship Id="rId11" Type="http://schemas.openxmlformats.org/officeDocument/2006/relationships/image" Target="../media/image63.png"/><Relationship Id="rId5" Type="http://schemas.openxmlformats.org/officeDocument/2006/relationships/image" Target="../media/image1.emf"/><Relationship Id="rId10" Type="http://schemas.openxmlformats.org/officeDocument/2006/relationships/image" Target="../media/image62.jpeg"/><Relationship Id="rId4" Type="http://schemas.openxmlformats.org/officeDocument/2006/relationships/oleObject" Target="../embeddings/oleObject7.bin"/><Relationship Id="rId9" Type="http://schemas.openxmlformats.org/officeDocument/2006/relationships/image" Target="../media/image61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72.png"/><Relationship Id="rId18" Type="http://schemas.openxmlformats.org/officeDocument/2006/relationships/image" Target="../media/image77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6.png"/><Relationship Id="rId12" Type="http://schemas.openxmlformats.org/officeDocument/2006/relationships/image" Target="../media/image71.png"/><Relationship Id="rId17" Type="http://schemas.openxmlformats.org/officeDocument/2006/relationships/image" Target="../media/image76.png"/><Relationship Id="rId2" Type="http://schemas.openxmlformats.org/officeDocument/2006/relationships/slideLayout" Target="../slideLayouts/slideLayout39.xml"/><Relationship Id="rId16" Type="http://schemas.openxmlformats.org/officeDocument/2006/relationships/image" Target="../media/image75.jpg"/><Relationship Id="rId1" Type="http://schemas.openxmlformats.org/officeDocument/2006/relationships/tags" Target="../tags/tag19.xml"/><Relationship Id="rId6" Type="http://schemas.openxmlformats.org/officeDocument/2006/relationships/image" Target="../media/image65.png"/><Relationship Id="rId11" Type="http://schemas.openxmlformats.org/officeDocument/2006/relationships/image" Target="../media/image70.png"/><Relationship Id="rId5" Type="http://schemas.openxmlformats.org/officeDocument/2006/relationships/image" Target="../media/image1.emf"/><Relationship Id="rId15" Type="http://schemas.openxmlformats.org/officeDocument/2006/relationships/image" Target="../media/image74.png"/><Relationship Id="rId10" Type="http://schemas.openxmlformats.org/officeDocument/2006/relationships/image" Target="../media/image69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68.png"/><Relationship Id="rId14" Type="http://schemas.openxmlformats.org/officeDocument/2006/relationships/image" Target="../media/image7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jpeg"/><Relationship Id="rId13" Type="http://schemas.openxmlformats.org/officeDocument/2006/relationships/image" Target="../media/image84.png"/><Relationship Id="rId18" Type="http://schemas.openxmlformats.org/officeDocument/2006/relationships/image" Target="../media/image74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79.png"/><Relationship Id="rId12" Type="http://schemas.openxmlformats.org/officeDocument/2006/relationships/image" Target="../media/image72.png"/><Relationship Id="rId17" Type="http://schemas.openxmlformats.org/officeDocument/2006/relationships/image" Target="../media/image73.png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87.png"/><Relationship Id="rId1" Type="http://schemas.openxmlformats.org/officeDocument/2006/relationships/tags" Target="../tags/tag20.xml"/><Relationship Id="rId6" Type="http://schemas.openxmlformats.org/officeDocument/2006/relationships/image" Target="../media/image78.png"/><Relationship Id="rId11" Type="http://schemas.openxmlformats.org/officeDocument/2006/relationships/image" Target="../media/image83.png"/><Relationship Id="rId5" Type="http://schemas.openxmlformats.org/officeDocument/2006/relationships/image" Target="../media/image4.emf"/><Relationship Id="rId15" Type="http://schemas.openxmlformats.org/officeDocument/2006/relationships/image" Target="../media/image86.png"/><Relationship Id="rId10" Type="http://schemas.openxmlformats.org/officeDocument/2006/relationships/image" Target="../media/image82.jpeg"/><Relationship Id="rId4" Type="http://schemas.openxmlformats.org/officeDocument/2006/relationships/oleObject" Target="../embeddings/oleObject5.bin"/><Relationship Id="rId9" Type="http://schemas.openxmlformats.org/officeDocument/2006/relationships/image" Target="../media/image81.jpeg"/><Relationship Id="rId14" Type="http://schemas.openxmlformats.org/officeDocument/2006/relationships/image" Target="../media/image8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97FAE96B-B882-5E62-F90A-B7D298A6407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786387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BBD6C35-C75E-4967-9671-4B141E38148F}"/>
              </a:ext>
            </a:extLst>
          </p:cNvPr>
          <p:cNvSpPr txBox="1"/>
          <p:nvPr/>
        </p:nvSpPr>
        <p:spPr>
          <a:xfrm>
            <a:off x="419006" y="2868975"/>
            <a:ext cx="5863332" cy="158197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4377">
              <a:lnSpc>
                <a:spcPct val="75000"/>
              </a:lnSpc>
              <a:defRPr/>
            </a:pPr>
            <a:r>
              <a:rPr lang="fr-FR" sz="4267" spc="-40" dirty="0">
                <a:solidFill>
                  <a:srgbClr val="091C62"/>
                </a:solidFill>
                <a:latin typeface="Montserrat ExtraBold" panose="00000900000000000000" pitchFamily="2" charset="0"/>
              </a:rPr>
              <a:t>CORPORATE</a:t>
            </a:r>
          </a:p>
          <a:p>
            <a:pPr defTabSz="914377">
              <a:lnSpc>
                <a:spcPct val="75000"/>
              </a:lnSpc>
              <a:defRPr/>
            </a:pPr>
            <a:r>
              <a:rPr lang="fr-FR" sz="4267" spc="-40" dirty="0">
                <a:solidFill>
                  <a:srgbClr val="091C62"/>
                </a:solidFill>
                <a:latin typeface="Montserrat ExtraBold" panose="00000900000000000000" pitchFamily="2" charset="0"/>
              </a:rPr>
              <a:t>PRESENTATION</a:t>
            </a:r>
          </a:p>
          <a:p>
            <a:pPr defTabSz="914377">
              <a:lnSpc>
                <a:spcPct val="75000"/>
              </a:lnSpc>
              <a:defRPr/>
            </a:pPr>
            <a:r>
              <a:rPr lang="fr-FR" sz="4250" spc="-40">
                <a:solidFill>
                  <a:srgbClr val="009EE3"/>
                </a:solidFill>
                <a:latin typeface="Montserrat SemiBold"/>
              </a:rPr>
              <a:t>2026</a:t>
            </a:r>
            <a:endParaRPr lang="fr-FR" sz="4250" spc="-40">
              <a:solidFill>
                <a:srgbClr val="009EE3"/>
              </a:solidFill>
              <a:latin typeface="Montserrat SemiBold" panose="00000700000000000000" pitchFamily="2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5734050"/>
            <a:ext cx="12192000" cy="1123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fr-FR">
              <a:solidFill>
                <a:prstClr val="white"/>
              </a:solidFill>
              <a:latin typeface="Montserrat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6633" y="6035692"/>
            <a:ext cx="2445347" cy="56885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3B5B530-C28C-C09C-1C5E-6C71755B1888}"/>
              </a:ext>
            </a:extLst>
          </p:cNvPr>
          <p:cNvSpPr/>
          <p:nvPr/>
        </p:nvSpPr>
        <p:spPr>
          <a:xfrm>
            <a:off x="2133601" y="5564495"/>
            <a:ext cx="10051031" cy="169200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23000">
                <a:srgbClr val="0800B9"/>
              </a:gs>
              <a:gs pos="74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fr-FR">
              <a:solidFill>
                <a:prstClr val="white"/>
              </a:solidFill>
              <a:latin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13307577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AFB0F99-8949-46BE-9472-C849924BC2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FB0F99-8949-46BE-9472-C849924BC2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re 19">
            <a:extLst>
              <a:ext uri="{FF2B5EF4-FFF2-40B4-BE49-F238E27FC236}">
                <a16:creationId xmlns:a16="http://schemas.microsoft.com/office/drawing/2014/main" id="{58790083-024F-BF05-3F8A-179D345D1D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b="1" dirty="0">
                <a:latin typeface="+mn-lt"/>
              </a:rPr>
              <a:t>FULL FOCUS ON FURTHER ENHANCING              CUSTOMER EXPERIENCE</a:t>
            </a:r>
            <a:br>
              <a:rPr lang="en-US" sz="2000" b="1" dirty="0">
                <a:latin typeface="+mn-lt"/>
              </a:rPr>
            </a:br>
            <a:endParaRPr lang="fr-FR" sz="2000" b="1" dirty="0">
              <a:latin typeface="+mn-lt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A538F3B4-CBCB-031C-F174-156277EA950A}"/>
              </a:ext>
            </a:extLst>
          </p:cNvPr>
          <p:cNvSpPr txBox="1">
            <a:spLocks/>
          </p:cNvSpPr>
          <p:nvPr/>
        </p:nvSpPr>
        <p:spPr>
          <a:xfrm>
            <a:off x="11536605" y="6388771"/>
            <a:ext cx="450011" cy="2403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BDB6216-0611-F13F-0CFC-B014BA460524}"/>
              </a:ext>
            </a:extLst>
          </p:cNvPr>
          <p:cNvSpPr/>
          <p:nvPr/>
        </p:nvSpPr>
        <p:spPr>
          <a:xfrm>
            <a:off x="658799" y="4909607"/>
            <a:ext cx="2743200" cy="52947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nvest i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oducts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and servic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816B32-15FD-C1AF-BD2B-61805B907A4D}"/>
              </a:ext>
            </a:extLst>
          </p:cNvPr>
          <p:cNvSpPr/>
          <p:nvPr/>
        </p:nvSpPr>
        <p:spPr>
          <a:xfrm>
            <a:off x="3494370" y="4909607"/>
            <a:ext cx="2743200" cy="52947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ecov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perational stability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DD22255-9684-34C7-FDDE-4949361BA0F0}"/>
              </a:ext>
            </a:extLst>
          </p:cNvPr>
          <p:cNvSpPr/>
          <p:nvPr/>
        </p:nvSpPr>
        <p:spPr>
          <a:xfrm>
            <a:off x="9165515" y="4909607"/>
            <a:ext cx="2743200" cy="52947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nvest for the futur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65DDD5C-F763-7824-B245-E2C04B928822}"/>
              </a:ext>
            </a:extLst>
          </p:cNvPr>
          <p:cNvSpPr/>
          <p:nvPr/>
        </p:nvSpPr>
        <p:spPr>
          <a:xfrm>
            <a:off x="6329941" y="4909607"/>
            <a:ext cx="2743200" cy="52947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urther strengthen Schiphol Hub </a:t>
            </a:r>
          </a:p>
        </p:txBody>
      </p:sp>
      <p:pic>
        <p:nvPicPr>
          <p:cNvPr id="57" name="Picture 2" descr="Watch &amp; hands">
            <a:extLst>
              <a:ext uri="{FF2B5EF4-FFF2-40B4-BE49-F238E27FC236}">
                <a16:creationId xmlns:a16="http://schemas.microsoft.com/office/drawing/2014/main" id="{854887D4-2F72-3603-7ADF-E94AD1568F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494371" y="2090736"/>
            <a:ext cx="2743200" cy="2851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 6" descr="Une image contenant texte, habits, bâtiment, signalisation&#10;&#10;Description générée automatiquement">
            <a:extLst>
              <a:ext uri="{FF2B5EF4-FFF2-40B4-BE49-F238E27FC236}">
                <a16:creationId xmlns:a16="http://schemas.microsoft.com/office/drawing/2014/main" id="{4BDEBF5E-114C-3B4E-90F4-D1B8164C80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29940" y="2090736"/>
            <a:ext cx="2743183" cy="2844255"/>
          </a:xfrm>
          <a:prstGeom prst="rect">
            <a:avLst/>
          </a:prstGeom>
        </p:spPr>
      </p:pic>
      <p:pic>
        <p:nvPicPr>
          <p:cNvPr id="10" name="Image 9" descr="Une image contenant habits, personne, Visage humain, sourire&#10;&#10;Description générée automatiquement">
            <a:extLst>
              <a:ext uri="{FF2B5EF4-FFF2-40B4-BE49-F238E27FC236}">
                <a16:creationId xmlns:a16="http://schemas.microsoft.com/office/drawing/2014/main" id="{B283137C-0586-6762-4632-B508F82AAD2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8813" y="2090736"/>
            <a:ext cx="2743183" cy="2844254"/>
          </a:xfrm>
          <a:prstGeom prst="rect">
            <a:avLst/>
          </a:prstGeom>
        </p:spPr>
      </p:pic>
      <p:pic>
        <p:nvPicPr>
          <p:cNvPr id="12" name="Image 11" descr="Une image contenant texte, avion, ciel, plein air&#10;&#10;Description générée automatiquement">
            <a:extLst>
              <a:ext uri="{FF2B5EF4-FFF2-40B4-BE49-F238E27FC236}">
                <a16:creationId xmlns:a16="http://schemas.microsoft.com/office/drawing/2014/main" id="{A4804079-EDB3-A96B-E2B1-9DF0C914AB2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5492" y="2090736"/>
            <a:ext cx="2743183" cy="2844619"/>
          </a:xfrm>
          <a:prstGeom prst="rect">
            <a:avLst/>
          </a:prstGeom>
        </p:spPr>
      </p:pic>
      <p:pic>
        <p:nvPicPr>
          <p:cNvPr id="5" name="Picture 8" descr="KLM Royal Dutch Airlines — Wikipédia">
            <a:extLst>
              <a:ext uri="{FF2B5EF4-FFF2-40B4-BE49-F238E27FC236}">
                <a16:creationId xmlns:a16="http://schemas.microsoft.com/office/drawing/2014/main" id="{11451800-41AF-0F23-2F1B-258217DA73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89986" y="543693"/>
            <a:ext cx="783713" cy="456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06913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3">
            <a:extLst>
              <a:ext uri="{FF2B5EF4-FFF2-40B4-BE49-F238E27FC236}">
                <a16:creationId xmlns:a16="http://schemas.microsoft.com/office/drawing/2014/main" id="{BCE98E0F-7384-8CD7-F778-005C405606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2000" b="1" dirty="0">
                <a:latin typeface="+mn-lt"/>
              </a:rPr>
              <a:t>                                IS EXPANDING its OFFER AND continues to grow</a:t>
            </a:r>
            <a:endParaRPr lang="fr-FR" sz="2000" b="1" dirty="0">
              <a:latin typeface="+mn-lt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C872034-FAB2-0A48-6465-33AC32050B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851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72034-FAB2-0A48-6465-33AC32050B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927DC01-A3B1-397A-90BF-566EBCE02402}"/>
              </a:ext>
            </a:extLst>
          </p:cNvPr>
          <p:cNvSpPr/>
          <p:nvPr/>
        </p:nvSpPr>
        <p:spPr>
          <a:xfrm>
            <a:off x="1257516" y="2019311"/>
            <a:ext cx="4707354" cy="3406325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FCE4600-CFCC-95FA-3E14-4D9015520E9D}"/>
              </a:ext>
            </a:extLst>
          </p:cNvPr>
          <p:cNvSpPr/>
          <p:nvPr/>
        </p:nvSpPr>
        <p:spPr>
          <a:xfrm>
            <a:off x="6358414" y="2019311"/>
            <a:ext cx="4707354" cy="3406325"/>
          </a:xfrm>
          <a:prstGeom prst="rect">
            <a:avLst/>
          </a:prstGeom>
          <a:solidFill>
            <a:srgbClr val="D0DAE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7" name="Picture 4" descr="Transavia - Magazines ">
            <a:extLst>
              <a:ext uri="{FF2B5EF4-FFF2-40B4-BE49-F238E27FC236}">
                <a16:creationId xmlns:a16="http://schemas.microsoft.com/office/drawing/2014/main" id="{ADEB81DE-171B-C974-45F2-35A7359431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57516" y="2019311"/>
            <a:ext cx="4691489" cy="1495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D82934C-15B6-DA23-C464-D94F28386F62}"/>
              </a:ext>
            </a:extLst>
          </p:cNvPr>
          <p:cNvSpPr/>
          <p:nvPr/>
        </p:nvSpPr>
        <p:spPr>
          <a:xfrm>
            <a:off x="1257517" y="1588568"/>
            <a:ext cx="4692134" cy="3087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eisure</a:t>
            </a:r>
          </a:p>
        </p:txBody>
      </p:sp>
      <p:sp>
        <p:nvSpPr>
          <p:cNvPr id="11" name="btfpConclusionArrowText411540">
            <a:extLst>
              <a:ext uri="{FF2B5EF4-FFF2-40B4-BE49-F238E27FC236}">
                <a16:creationId xmlns:a16="http://schemas.microsoft.com/office/drawing/2014/main" id="{DACC8EA7-3E0F-D86A-8E05-86DBB5F62391}"/>
              </a:ext>
            </a:extLst>
          </p:cNvPr>
          <p:cNvSpPr txBox="1"/>
          <p:nvPr/>
        </p:nvSpPr>
        <p:spPr bwMode="gray">
          <a:xfrm>
            <a:off x="838961" y="5704744"/>
            <a:ext cx="10735797" cy="318961"/>
          </a:xfrm>
          <a:prstGeom prst="rect">
            <a:avLst/>
          </a:prstGeom>
          <a:noFill/>
        </p:spPr>
        <p:txBody>
          <a:bodyPr vert="horz" wrap="square" lIns="36036" tIns="36036" rIns="36036" bIns="3600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evelopment of a high contribution corporate business will lead to a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win-engine revenue model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16" name="Picture 8" descr="Businessman with luggage and businesswoman at airport">
            <a:extLst>
              <a:ext uri="{FF2B5EF4-FFF2-40B4-BE49-F238E27FC236}">
                <a16:creationId xmlns:a16="http://schemas.microsoft.com/office/drawing/2014/main" id="{BAB11E04-F097-B291-D893-DEF4CDEC62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68994" y="2019313"/>
            <a:ext cx="4690490" cy="1495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68EFC295-F2C0-24E6-9BA4-BC4F22CBA137}"/>
              </a:ext>
            </a:extLst>
          </p:cNvPr>
          <p:cNvSpPr/>
          <p:nvPr/>
        </p:nvSpPr>
        <p:spPr>
          <a:xfrm>
            <a:off x="6367279" y="1588570"/>
            <a:ext cx="4695952" cy="3087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rporat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1E25DE-008A-0EAD-3010-AC46F5D1FED6}"/>
              </a:ext>
            </a:extLst>
          </p:cNvPr>
          <p:cNvSpPr>
            <a:spLocks/>
          </p:cNvSpPr>
          <p:nvPr/>
        </p:nvSpPr>
        <p:spPr>
          <a:xfrm>
            <a:off x="6943432" y="3779914"/>
            <a:ext cx="3921936" cy="13853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ddress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rporate demand from Paris-Or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lying Blue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arning and bur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AX fare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, dedicated product to Business traveler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highlight>
                <a:srgbClr val="00FFFF"/>
              </a:highlight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0456C79-FC88-F219-2306-3C455BE5904D}"/>
              </a:ext>
            </a:extLst>
          </p:cNvPr>
          <p:cNvSpPr>
            <a:spLocks/>
          </p:cNvSpPr>
          <p:nvPr/>
        </p:nvSpPr>
        <p:spPr>
          <a:xfrm>
            <a:off x="1852906" y="3779914"/>
            <a:ext cx="3918750" cy="13853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trengthen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eadership on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editerranean destinations,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evelop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inter networ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ransavia Holidays,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o increase leisure wallet sha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evelop other ancillarie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(baggage, seat, etc.)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highlight>
                <a:srgbClr val="00FFFF"/>
              </a:highlight>
              <a:uLnTx/>
              <a:uFillTx/>
              <a:latin typeface="Montserrat"/>
              <a:ea typeface="+mn-ea"/>
              <a:cs typeface="+mn-cs"/>
            </a:endParaRPr>
          </a:p>
        </p:txBody>
      </p:sp>
      <p:grpSp>
        <p:nvGrpSpPr>
          <p:cNvPr id="23" name="Graphique 24">
            <a:extLst>
              <a:ext uri="{FF2B5EF4-FFF2-40B4-BE49-F238E27FC236}">
                <a16:creationId xmlns:a16="http://schemas.microsoft.com/office/drawing/2014/main" id="{93C43E1C-DCD4-CE67-FC06-28A816692F5B}"/>
              </a:ext>
            </a:extLst>
          </p:cNvPr>
          <p:cNvGrpSpPr/>
          <p:nvPr/>
        </p:nvGrpSpPr>
        <p:grpSpPr>
          <a:xfrm>
            <a:off x="1394283" y="3884355"/>
            <a:ext cx="270754" cy="245349"/>
            <a:chOff x="213314" y="3840743"/>
            <a:chExt cx="270754" cy="245349"/>
          </a:xfr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</p:grpSpPr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3CFC7B38-E7E5-FF7D-09D8-703C4924A092}"/>
                </a:ext>
              </a:extLst>
            </p:cNvPr>
            <p:cNvSpPr/>
            <p:nvPr/>
          </p:nvSpPr>
          <p:spPr>
            <a:xfrm>
              <a:off x="228262" y="3840743"/>
              <a:ext cx="255806" cy="245349"/>
            </a:xfrm>
            <a:custGeom>
              <a:avLst/>
              <a:gdLst>
                <a:gd name="connsiteX0" fmla="*/ 238075 w 255806"/>
                <a:gd name="connsiteY0" fmla="*/ 59331 h 245349"/>
                <a:gd name="connsiteX1" fmla="*/ 242699 w 255806"/>
                <a:gd name="connsiteY1" fmla="*/ 53728 h 245349"/>
                <a:gd name="connsiteX2" fmla="*/ 246709 w 255806"/>
                <a:gd name="connsiteY2" fmla="*/ 43808 h 245349"/>
                <a:gd name="connsiteX3" fmla="*/ 242699 w 255806"/>
                <a:gd name="connsiteY3" fmla="*/ 33887 h 245349"/>
                <a:gd name="connsiteX4" fmla="*/ 242496 w 255806"/>
                <a:gd name="connsiteY4" fmla="*/ 33684 h 245349"/>
                <a:gd name="connsiteX5" fmla="*/ 242496 w 255806"/>
                <a:gd name="connsiteY5" fmla="*/ 33684 h 245349"/>
                <a:gd name="connsiteX6" fmla="*/ 232521 w 255806"/>
                <a:gd name="connsiteY6" fmla="*/ 29496 h 245349"/>
                <a:gd name="connsiteX7" fmla="*/ 222451 w 255806"/>
                <a:gd name="connsiteY7" fmla="*/ 33448 h 245349"/>
                <a:gd name="connsiteX8" fmla="*/ 219684 w 255806"/>
                <a:gd name="connsiteY8" fmla="*/ 35709 h 245349"/>
                <a:gd name="connsiteX9" fmla="*/ 132969 w 255806"/>
                <a:gd name="connsiteY9" fmla="*/ 0 h 245349"/>
                <a:gd name="connsiteX10" fmla="*/ 46386 w 255806"/>
                <a:gd name="connsiteY10" fmla="*/ 36027 h 245349"/>
                <a:gd name="connsiteX11" fmla="*/ 10596 w 255806"/>
                <a:gd name="connsiteY11" fmla="*/ 122705 h 245349"/>
                <a:gd name="connsiteX12" fmla="*/ 11305 w 255806"/>
                <a:gd name="connsiteY12" fmla="*/ 135866 h 245349"/>
                <a:gd name="connsiteX13" fmla="*/ 7817 w 255806"/>
                <a:gd name="connsiteY13" fmla="*/ 136361 h 245349"/>
                <a:gd name="connsiteX14" fmla="*/ 5096 w 255806"/>
                <a:gd name="connsiteY14" fmla="*/ 138599 h 245349"/>
                <a:gd name="connsiteX15" fmla="*/ 4050 w 255806"/>
                <a:gd name="connsiteY15" fmla="*/ 139984 h 245349"/>
                <a:gd name="connsiteX16" fmla="*/ 1283 w 255806"/>
                <a:gd name="connsiteY16" fmla="*/ 143594 h 245349"/>
                <a:gd name="connsiteX17" fmla="*/ 70 w 255806"/>
                <a:gd name="connsiteY17" fmla="*/ 148429 h 245349"/>
                <a:gd name="connsiteX18" fmla="*/ 2632 w 255806"/>
                <a:gd name="connsiteY18" fmla="*/ 152705 h 245349"/>
                <a:gd name="connsiteX19" fmla="*/ 7467 w 255806"/>
                <a:gd name="connsiteY19" fmla="*/ 153918 h 245349"/>
                <a:gd name="connsiteX20" fmla="*/ 11744 w 255806"/>
                <a:gd name="connsiteY20" fmla="*/ 151355 h 245349"/>
                <a:gd name="connsiteX21" fmla="*/ 13465 w 255806"/>
                <a:gd name="connsiteY21" fmla="*/ 149094 h 245349"/>
                <a:gd name="connsiteX22" fmla="*/ 32227 w 255806"/>
                <a:gd name="connsiteY22" fmla="*/ 192188 h 245349"/>
                <a:gd name="connsiteX23" fmla="*/ 30976 w 255806"/>
                <a:gd name="connsiteY23" fmla="*/ 196707 h 245349"/>
                <a:gd name="connsiteX24" fmla="*/ 33084 w 255806"/>
                <a:gd name="connsiteY24" fmla="*/ 200894 h 245349"/>
                <a:gd name="connsiteX25" fmla="*/ 37458 w 255806"/>
                <a:gd name="connsiteY25" fmla="*/ 202582 h 245349"/>
                <a:gd name="connsiteX26" fmla="*/ 39112 w 255806"/>
                <a:gd name="connsiteY26" fmla="*/ 202345 h 245349"/>
                <a:gd name="connsiteX27" fmla="*/ 39888 w 255806"/>
                <a:gd name="connsiteY27" fmla="*/ 202143 h 245349"/>
                <a:gd name="connsiteX28" fmla="*/ 39887 w 255806"/>
                <a:gd name="connsiteY28" fmla="*/ 202143 h 245349"/>
                <a:gd name="connsiteX29" fmla="*/ 118472 w 255806"/>
                <a:gd name="connsiteY29" fmla="*/ 244451 h 245349"/>
                <a:gd name="connsiteX30" fmla="*/ 204909 w 255806"/>
                <a:gd name="connsiteY30" fmla="*/ 222229 h 245349"/>
                <a:gd name="connsiteX31" fmla="*/ 253343 w 255806"/>
                <a:gd name="connsiteY31" fmla="*/ 147266 h 245349"/>
                <a:gd name="connsiteX32" fmla="*/ 238078 w 255806"/>
                <a:gd name="connsiteY32" fmla="*/ 59333 h 245349"/>
                <a:gd name="connsiteX33" fmla="*/ 231326 w 255806"/>
                <a:gd name="connsiteY33" fmla="*/ 42896 h 245349"/>
                <a:gd name="connsiteX34" fmla="*/ 233014 w 255806"/>
                <a:gd name="connsiteY34" fmla="*/ 42694 h 245349"/>
                <a:gd name="connsiteX35" fmla="*/ 233216 w 255806"/>
                <a:gd name="connsiteY35" fmla="*/ 42896 h 245349"/>
                <a:gd name="connsiteX36" fmla="*/ 233216 w 255806"/>
                <a:gd name="connsiteY36" fmla="*/ 44787 h 245349"/>
                <a:gd name="connsiteX37" fmla="*/ 232777 w 255806"/>
                <a:gd name="connsiteY37" fmla="*/ 45225 h 245349"/>
                <a:gd name="connsiteX38" fmla="*/ 225050 w 255806"/>
                <a:gd name="connsiteY38" fmla="*/ 54572 h 245349"/>
                <a:gd name="connsiteX39" fmla="*/ 209527 w 255806"/>
                <a:gd name="connsiteY39" fmla="*/ 73436 h 245349"/>
                <a:gd name="connsiteX40" fmla="*/ 208177 w 255806"/>
                <a:gd name="connsiteY40" fmla="*/ 77587 h 245349"/>
                <a:gd name="connsiteX41" fmla="*/ 208177 w 255806"/>
                <a:gd name="connsiteY41" fmla="*/ 78533 h 245349"/>
                <a:gd name="connsiteX42" fmla="*/ 215364 w 255806"/>
                <a:gd name="connsiteY42" fmla="*/ 127295 h 245349"/>
                <a:gd name="connsiteX43" fmla="*/ 215364 w 255806"/>
                <a:gd name="connsiteY43" fmla="*/ 128510 h 245349"/>
                <a:gd name="connsiteX44" fmla="*/ 213947 w 255806"/>
                <a:gd name="connsiteY44" fmla="*/ 133099 h 245349"/>
                <a:gd name="connsiteX45" fmla="*/ 196164 w 255806"/>
                <a:gd name="connsiteY45" fmla="*/ 99354 h 245349"/>
                <a:gd name="connsiteX46" fmla="*/ 191574 w 255806"/>
                <a:gd name="connsiteY46" fmla="*/ 95979 h 245349"/>
                <a:gd name="connsiteX47" fmla="*/ 186107 w 255806"/>
                <a:gd name="connsiteY47" fmla="*/ 97463 h 245349"/>
                <a:gd name="connsiteX48" fmla="*/ 165860 w 255806"/>
                <a:gd name="connsiteY48" fmla="*/ 115247 h 245349"/>
                <a:gd name="connsiteX49" fmla="*/ 165860 w 255806"/>
                <a:gd name="connsiteY49" fmla="*/ 115248 h 245349"/>
                <a:gd name="connsiteX50" fmla="*/ 163565 w 255806"/>
                <a:gd name="connsiteY50" fmla="*/ 119331 h 245349"/>
                <a:gd name="connsiteX51" fmla="*/ 163025 w 255806"/>
                <a:gd name="connsiteY51" fmla="*/ 124292 h 245349"/>
                <a:gd name="connsiteX52" fmla="*/ 163026 w 255806"/>
                <a:gd name="connsiteY52" fmla="*/ 124292 h 245349"/>
                <a:gd name="connsiteX53" fmla="*/ 160731 w 255806"/>
                <a:gd name="connsiteY53" fmla="*/ 129117 h 245349"/>
                <a:gd name="connsiteX54" fmla="*/ 159887 w 255806"/>
                <a:gd name="connsiteY54" fmla="*/ 122368 h 245349"/>
                <a:gd name="connsiteX55" fmla="*/ 157559 w 255806"/>
                <a:gd name="connsiteY55" fmla="*/ 118453 h 245349"/>
                <a:gd name="connsiteX56" fmla="*/ 153441 w 255806"/>
                <a:gd name="connsiteY56" fmla="*/ 116227 h 245349"/>
                <a:gd name="connsiteX57" fmla="*/ 146692 w 255806"/>
                <a:gd name="connsiteY57" fmla="*/ 115383 h 245349"/>
                <a:gd name="connsiteX58" fmla="*/ 151518 w 255806"/>
                <a:gd name="connsiteY58" fmla="*/ 113122 h 245349"/>
                <a:gd name="connsiteX59" fmla="*/ 156749 w 255806"/>
                <a:gd name="connsiteY59" fmla="*/ 112582 h 245349"/>
                <a:gd name="connsiteX60" fmla="*/ 160933 w 255806"/>
                <a:gd name="connsiteY60" fmla="*/ 110354 h 245349"/>
                <a:gd name="connsiteX61" fmla="*/ 178684 w 255806"/>
                <a:gd name="connsiteY61" fmla="*/ 90107 h 245349"/>
                <a:gd name="connsiteX62" fmla="*/ 180303 w 255806"/>
                <a:gd name="connsiteY62" fmla="*/ 85585 h 245349"/>
                <a:gd name="connsiteX63" fmla="*/ 180303 w 255806"/>
                <a:gd name="connsiteY63" fmla="*/ 84370 h 245349"/>
                <a:gd name="connsiteX64" fmla="*/ 176928 w 255806"/>
                <a:gd name="connsiteY64" fmla="*/ 79815 h 245349"/>
                <a:gd name="connsiteX65" fmla="*/ 143182 w 255806"/>
                <a:gd name="connsiteY65" fmla="*/ 62032 h 245349"/>
                <a:gd name="connsiteX66" fmla="*/ 143182 w 255806"/>
                <a:gd name="connsiteY66" fmla="*/ 62030 h 245349"/>
                <a:gd name="connsiteX67" fmla="*/ 148987 w 255806"/>
                <a:gd name="connsiteY67" fmla="*/ 60714 h 245349"/>
                <a:gd name="connsiteX68" fmla="*/ 197615 w 255806"/>
                <a:gd name="connsiteY68" fmla="*/ 68038 h 245349"/>
                <a:gd name="connsiteX69" fmla="*/ 202709 w 255806"/>
                <a:gd name="connsiteY69" fmla="*/ 66620 h 245349"/>
                <a:gd name="connsiteX70" fmla="*/ 223260 w 255806"/>
                <a:gd name="connsiteY70" fmla="*/ 49747 h 245349"/>
                <a:gd name="connsiteX71" fmla="*/ 230920 w 255806"/>
                <a:gd name="connsiteY71" fmla="*/ 43436 h 245349"/>
                <a:gd name="connsiteX72" fmla="*/ 133194 w 255806"/>
                <a:gd name="connsiteY72" fmla="*/ 232311 h 245349"/>
                <a:gd name="connsiteX73" fmla="*/ 89805 w 255806"/>
                <a:gd name="connsiteY73" fmla="*/ 223333 h 245349"/>
                <a:gd name="connsiteX74" fmla="*/ 53554 w 255806"/>
                <a:gd name="connsiteY74" fmla="*/ 197855 h 245349"/>
                <a:gd name="connsiteX75" fmla="*/ 57149 w 255806"/>
                <a:gd name="connsiteY75" fmla="*/ 192728 h 245349"/>
                <a:gd name="connsiteX76" fmla="*/ 54759 w 255806"/>
                <a:gd name="connsiteY76" fmla="*/ 186940 h 245349"/>
                <a:gd name="connsiteX77" fmla="*/ 48593 w 255806"/>
                <a:gd name="connsiteY77" fmla="*/ 185843 h 245349"/>
                <a:gd name="connsiteX78" fmla="*/ 44645 w 255806"/>
                <a:gd name="connsiteY78" fmla="*/ 187158 h 245349"/>
                <a:gd name="connsiteX79" fmla="*/ 24251 w 255806"/>
                <a:gd name="connsiteY79" fmla="*/ 110238 h 245349"/>
                <a:gd name="connsiteX80" fmla="*/ 61304 w 255806"/>
                <a:gd name="connsiteY80" fmla="*/ 39813 h 245349"/>
                <a:gd name="connsiteX81" fmla="*/ 136248 w 255806"/>
                <a:gd name="connsiteY81" fmla="*/ 13052 h 245349"/>
                <a:gd name="connsiteX82" fmla="*/ 209529 w 255806"/>
                <a:gd name="connsiteY82" fmla="*/ 44075 h 245349"/>
                <a:gd name="connsiteX83" fmla="*/ 196639 w 255806"/>
                <a:gd name="connsiteY83" fmla="*/ 54706 h 245349"/>
                <a:gd name="connsiteX84" fmla="*/ 150812 w 255806"/>
                <a:gd name="connsiteY84" fmla="*/ 47956 h 245349"/>
                <a:gd name="connsiteX85" fmla="*/ 138576 w 255806"/>
                <a:gd name="connsiteY85" fmla="*/ 49766 h 245349"/>
                <a:gd name="connsiteX86" fmla="*/ 129418 w 255806"/>
                <a:gd name="connsiteY86" fmla="*/ 58080 h 245349"/>
                <a:gd name="connsiteX87" fmla="*/ 127663 w 255806"/>
                <a:gd name="connsiteY87" fmla="*/ 61050 h 245349"/>
                <a:gd name="connsiteX88" fmla="*/ 127662 w 255806"/>
                <a:gd name="connsiteY88" fmla="*/ 61051 h 245349"/>
                <a:gd name="connsiteX89" fmla="*/ 126717 w 255806"/>
                <a:gd name="connsiteY89" fmla="*/ 64425 h 245349"/>
                <a:gd name="connsiteX90" fmla="*/ 126988 w 255806"/>
                <a:gd name="connsiteY90" fmla="*/ 66179 h 245349"/>
                <a:gd name="connsiteX91" fmla="*/ 130362 w 255806"/>
                <a:gd name="connsiteY91" fmla="*/ 70195 h 245349"/>
                <a:gd name="connsiteX92" fmla="*/ 163635 w 255806"/>
                <a:gd name="connsiteY92" fmla="*/ 87710 h 245349"/>
                <a:gd name="connsiteX93" fmla="*/ 152938 w 255806"/>
                <a:gd name="connsiteY93" fmla="*/ 99959 h 245349"/>
                <a:gd name="connsiteX94" fmla="*/ 150509 w 255806"/>
                <a:gd name="connsiteY94" fmla="*/ 100229 h 245349"/>
                <a:gd name="connsiteX95" fmla="*/ 150509 w 255806"/>
                <a:gd name="connsiteY95" fmla="*/ 100228 h 245349"/>
                <a:gd name="connsiteX96" fmla="*/ 139231 w 255806"/>
                <a:gd name="connsiteY96" fmla="*/ 105041 h 245349"/>
                <a:gd name="connsiteX97" fmla="*/ 132488 w 255806"/>
                <a:gd name="connsiteY97" fmla="*/ 115280 h 245349"/>
                <a:gd name="connsiteX98" fmla="*/ 131374 w 255806"/>
                <a:gd name="connsiteY98" fmla="*/ 118957 h 245349"/>
                <a:gd name="connsiteX99" fmla="*/ 131105 w 255806"/>
                <a:gd name="connsiteY99" fmla="*/ 120814 h 245349"/>
                <a:gd name="connsiteX100" fmla="*/ 132737 w 255806"/>
                <a:gd name="connsiteY100" fmla="*/ 125127 h 245349"/>
                <a:gd name="connsiteX101" fmla="*/ 136807 w 255806"/>
                <a:gd name="connsiteY101" fmla="*/ 127293 h 245349"/>
                <a:gd name="connsiteX102" fmla="*/ 147708 w 255806"/>
                <a:gd name="connsiteY102" fmla="*/ 128677 h 245349"/>
                <a:gd name="connsiteX103" fmla="*/ 148923 w 255806"/>
                <a:gd name="connsiteY103" fmla="*/ 139576 h 245349"/>
                <a:gd name="connsiteX104" fmla="*/ 151839 w 255806"/>
                <a:gd name="connsiteY104" fmla="*/ 144212 h 245349"/>
                <a:gd name="connsiteX105" fmla="*/ 157258 w 255806"/>
                <a:gd name="connsiteY105" fmla="*/ 145009 h 245349"/>
                <a:gd name="connsiteX106" fmla="*/ 160936 w 255806"/>
                <a:gd name="connsiteY106" fmla="*/ 143829 h 245349"/>
                <a:gd name="connsiteX107" fmla="*/ 171183 w 255806"/>
                <a:gd name="connsiteY107" fmla="*/ 137071 h 245349"/>
                <a:gd name="connsiteX108" fmla="*/ 175986 w 255806"/>
                <a:gd name="connsiteY108" fmla="*/ 125775 h 245349"/>
                <a:gd name="connsiteX109" fmla="*/ 176257 w 255806"/>
                <a:gd name="connsiteY109" fmla="*/ 123345 h 245349"/>
                <a:gd name="connsiteX110" fmla="*/ 188506 w 255806"/>
                <a:gd name="connsiteY110" fmla="*/ 112580 h 245349"/>
                <a:gd name="connsiteX111" fmla="*/ 206020 w 255806"/>
                <a:gd name="connsiteY111" fmla="*/ 145853 h 245349"/>
                <a:gd name="connsiteX112" fmla="*/ 210002 w 255806"/>
                <a:gd name="connsiteY112" fmla="*/ 149228 h 245349"/>
                <a:gd name="connsiteX113" fmla="*/ 215131 w 255806"/>
                <a:gd name="connsiteY113" fmla="*/ 148553 h 245349"/>
                <a:gd name="connsiteX114" fmla="*/ 218067 w 255806"/>
                <a:gd name="connsiteY114" fmla="*/ 146765 h 245349"/>
                <a:gd name="connsiteX115" fmla="*/ 218067 w 255806"/>
                <a:gd name="connsiteY115" fmla="*/ 146764 h 245349"/>
                <a:gd name="connsiteX116" fmla="*/ 228427 w 255806"/>
                <a:gd name="connsiteY116" fmla="*/ 128508 h 245349"/>
                <a:gd name="connsiteX117" fmla="*/ 228191 w 255806"/>
                <a:gd name="connsiteY117" fmla="*/ 125369 h 245349"/>
                <a:gd name="connsiteX118" fmla="*/ 221442 w 255806"/>
                <a:gd name="connsiteY118" fmla="*/ 79509 h 245349"/>
                <a:gd name="connsiteX119" fmla="*/ 229338 w 255806"/>
                <a:gd name="connsiteY119" fmla="*/ 69959 h 245349"/>
                <a:gd name="connsiteX120" fmla="*/ 240882 w 255806"/>
                <a:gd name="connsiteY120" fmla="*/ 143297 h 245349"/>
                <a:gd name="connsiteX121" fmla="*/ 203054 w 255806"/>
                <a:gd name="connsiteY121" fmla="*/ 207177 h 245349"/>
                <a:gd name="connsiteX122" fmla="*/ 133198 w 255806"/>
                <a:gd name="connsiteY122" fmla="*/ 232311 h 245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255806" h="245349">
                  <a:moveTo>
                    <a:pt x="238075" y="59331"/>
                  </a:moveTo>
                  <a:lnTo>
                    <a:pt x="242699" y="53728"/>
                  </a:lnTo>
                  <a:cubicBezTo>
                    <a:pt x="245272" y="51067"/>
                    <a:pt x="246709" y="47510"/>
                    <a:pt x="246709" y="43808"/>
                  </a:cubicBezTo>
                  <a:cubicBezTo>
                    <a:pt x="246709" y="40105"/>
                    <a:pt x="245272" y="36548"/>
                    <a:pt x="242699" y="33887"/>
                  </a:cubicBezTo>
                  <a:lnTo>
                    <a:pt x="242496" y="33684"/>
                  </a:lnTo>
                  <a:lnTo>
                    <a:pt x="242496" y="33684"/>
                  </a:lnTo>
                  <a:cubicBezTo>
                    <a:pt x="239841" y="31043"/>
                    <a:pt x="236264" y="29540"/>
                    <a:pt x="232521" y="29496"/>
                  </a:cubicBezTo>
                  <a:cubicBezTo>
                    <a:pt x="228777" y="29451"/>
                    <a:pt x="225165" y="30869"/>
                    <a:pt x="222451" y="33448"/>
                  </a:cubicBezTo>
                  <a:lnTo>
                    <a:pt x="219684" y="35709"/>
                  </a:lnTo>
                  <a:cubicBezTo>
                    <a:pt x="196653" y="12784"/>
                    <a:pt x="165466" y="-59"/>
                    <a:pt x="132969" y="0"/>
                  </a:cubicBezTo>
                  <a:cubicBezTo>
                    <a:pt x="100475" y="60"/>
                    <a:pt x="69333" y="13016"/>
                    <a:pt x="46386" y="36027"/>
                  </a:cubicBezTo>
                  <a:cubicBezTo>
                    <a:pt x="23441" y="59034"/>
                    <a:pt x="10568" y="90211"/>
                    <a:pt x="10596" y="122705"/>
                  </a:cubicBezTo>
                  <a:cubicBezTo>
                    <a:pt x="10594" y="127101"/>
                    <a:pt x="10830" y="131495"/>
                    <a:pt x="11305" y="135866"/>
                  </a:cubicBezTo>
                  <a:cubicBezTo>
                    <a:pt x="10119" y="135707"/>
                    <a:pt x="8912" y="135878"/>
                    <a:pt x="7817" y="136361"/>
                  </a:cubicBezTo>
                  <a:cubicBezTo>
                    <a:pt x="6722" y="136843"/>
                    <a:pt x="5780" y="137617"/>
                    <a:pt x="5096" y="138599"/>
                  </a:cubicBezTo>
                  <a:lnTo>
                    <a:pt x="4050" y="139984"/>
                  </a:lnTo>
                  <a:cubicBezTo>
                    <a:pt x="3307" y="140928"/>
                    <a:pt x="2363" y="142143"/>
                    <a:pt x="1283" y="143594"/>
                  </a:cubicBezTo>
                  <a:cubicBezTo>
                    <a:pt x="253" y="144982"/>
                    <a:pt x="-182" y="146721"/>
                    <a:pt x="70" y="148429"/>
                  </a:cubicBezTo>
                  <a:cubicBezTo>
                    <a:pt x="324" y="150138"/>
                    <a:pt x="1246" y="151676"/>
                    <a:pt x="2632" y="152705"/>
                  </a:cubicBezTo>
                  <a:cubicBezTo>
                    <a:pt x="4019" y="153734"/>
                    <a:pt x="5759" y="154171"/>
                    <a:pt x="7467" y="153918"/>
                  </a:cubicBezTo>
                  <a:cubicBezTo>
                    <a:pt x="9177" y="153664"/>
                    <a:pt x="10714" y="152743"/>
                    <a:pt x="11744" y="151355"/>
                  </a:cubicBezTo>
                  <a:lnTo>
                    <a:pt x="13465" y="149094"/>
                  </a:lnTo>
                  <a:cubicBezTo>
                    <a:pt x="16880" y="164535"/>
                    <a:pt x="23252" y="179167"/>
                    <a:pt x="32227" y="192188"/>
                  </a:cubicBezTo>
                  <a:cubicBezTo>
                    <a:pt x="31264" y="193487"/>
                    <a:pt x="30818" y="195098"/>
                    <a:pt x="30976" y="196707"/>
                  </a:cubicBezTo>
                  <a:cubicBezTo>
                    <a:pt x="31134" y="198316"/>
                    <a:pt x="31886" y="199809"/>
                    <a:pt x="33084" y="200894"/>
                  </a:cubicBezTo>
                  <a:cubicBezTo>
                    <a:pt x="34281" y="201981"/>
                    <a:pt x="35841" y="202582"/>
                    <a:pt x="37458" y="202582"/>
                  </a:cubicBezTo>
                  <a:cubicBezTo>
                    <a:pt x="38018" y="202584"/>
                    <a:pt x="38574" y="202505"/>
                    <a:pt x="39112" y="202345"/>
                  </a:cubicBezTo>
                  <a:lnTo>
                    <a:pt x="39888" y="202143"/>
                  </a:lnTo>
                  <a:lnTo>
                    <a:pt x="39887" y="202143"/>
                  </a:lnTo>
                  <a:cubicBezTo>
                    <a:pt x="59833" y="225623"/>
                    <a:pt x="87890" y="240728"/>
                    <a:pt x="118472" y="244451"/>
                  </a:cubicBezTo>
                  <a:cubicBezTo>
                    <a:pt x="149055" y="248175"/>
                    <a:pt x="179915" y="240241"/>
                    <a:pt x="204909" y="222229"/>
                  </a:cubicBezTo>
                  <a:cubicBezTo>
                    <a:pt x="229904" y="204218"/>
                    <a:pt x="247198" y="177455"/>
                    <a:pt x="253343" y="147266"/>
                  </a:cubicBezTo>
                  <a:cubicBezTo>
                    <a:pt x="259490" y="117078"/>
                    <a:pt x="254040" y="85683"/>
                    <a:pt x="238078" y="59333"/>
                  </a:cubicBezTo>
                  <a:close/>
                  <a:moveTo>
                    <a:pt x="231326" y="42896"/>
                  </a:moveTo>
                  <a:cubicBezTo>
                    <a:pt x="231770" y="42439"/>
                    <a:pt x="232474" y="42355"/>
                    <a:pt x="233014" y="42694"/>
                  </a:cubicBezTo>
                  <a:cubicBezTo>
                    <a:pt x="233014" y="42694"/>
                    <a:pt x="233014" y="42863"/>
                    <a:pt x="233216" y="42896"/>
                  </a:cubicBezTo>
                  <a:cubicBezTo>
                    <a:pt x="233731" y="43421"/>
                    <a:pt x="233731" y="44262"/>
                    <a:pt x="233216" y="44787"/>
                  </a:cubicBezTo>
                  <a:cubicBezTo>
                    <a:pt x="233061" y="44924"/>
                    <a:pt x="232915" y="45070"/>
                    <a:pt x="232777" y="45225"/>
                  </a:cubicBezTo>
                  <a:lnTo>
                    <a:pt x="225050" y="54572"/>
                  </a:lnTo>
                  <a:lnTo>
                    <a:pt x="209527" y="73436"/>
                  </a:lnTo>
                  <a:cubicBezTo>
                    <a:pt x="208608" y="74621"/>
                    <a:pt x="208131" y="76088"/>
                    <a:pt x="208177" y="77587"/>
                  </a:cubicBezTo>
                  <a:cubicBezTo>
                    <a:pt x="208144" y="77901"/>
                    <a:pt x="208144" y="78218"/>
                    <a:pt x="208177" y="78533"/>
                  </a:cubicBezTo>
                  <a:lnTo>
                    <a:pt x="215364" y="127295"/>
                  </a:lnTo>
                  <a:cubicBezTo>
                    <a:pt x="215398" y="127699"/>
                    <a:pt x="215398" y="128106"/>
                    <a:pt x="215364" y="128510"/>
                  </a:cubicBezTo>
                  <a:cubicBezTo>
                    <a:pt x="215361" y="130147"/>
                    <a:pt x="214868" y="131745"/>
                    <a:pt x="213947" y="133099"/>
                  </a:cubicBezTo>
                  <a:lnTo>
                    <a:pt x="196164" y="99354"/>
                  </a:lnTo>
                  <a:cubicBezTo>
                    <a:pt x="195229" y="97587"/>
                    <a:pt x="193538" y="96344"/>
                    <a:pt x="191574" y="95979"/>
                  </a:cubicBezTo>
                  <a:cubicBezTo>
                    <a:pt x="189620" y="95609"/>
                    <a:pt x="187606" y="96156"/>
                    <a:pt x="186107" y="97463"/>
                  </a:cubicBezTo>
                  <a:lnTo>
                    <a:pt x="165860" y="115247"/>
                  </a:lnTo>
                  <a:lnTo>
                    <a:pt x="165860" y="115248"/>
                  </a:lnTo>
                  <a:cubicBezTo>
                    <a:pt x="164632" y="116291"/>
                    <a:pt x="163818" y="117739"/>
                    <a:pt x="163565" y="119331"/>
                  </a:cubicBezTo>
                  <a:lnTo>
                    <a:pt x="163025" y="124292"/>
                  </a:lnTo>
                  <a:lnTo>
                    <a:pt x="163026" y="124292"/>
                  </a:lnTo>
                  <a:cubicBezTo>
                    <a:pt x="162833" y="126115"/>
                    <a:pt x="162024" y="127818"/>
                    <a:pt x="160731" y="129117"/>
                  </a:cubicBezTo>
                  <a:lnTo>
                    <a:pt x="159887" y="122368"/>
                  </a:lnTo>
                  <a:cubicBezTo>
                    <a:pt x="159619" y="120822"/>
                    <a:pt x="158790" y="119428"/>
                    <a:pt x="157559" y="118453"/>
                  </a:cubicBezTo>
                  <a:cubicBezTo>
                    <a:pt x="156507" y="117230"/>
                    <a:pt x="155042" y="116436"/>
                    <a:pt x="153441" y="116227"/>
                  </a:cubicBezTo>
                  <a:lnTo>
                    <a:pt x="146692" y="115383"/>
                  </a:lnTo>
                  <a:cubicBezTo>
                    <a:pt x="148003" y="114111"/>
                    <a:pt x="149702" y="113315"/>
                    <a:pt x="151518" y="113122"/>
                  </a:cubicBezTo>
                  <a:lnTo>
                    <a:pt x="156749" y="112582"/>
                  </a:lnTo>
                  <a:cubicBezTo>
                    <a:pt x="158378" y="112405"/>
                    <a:pt x="159876" y="111607"/>
                    <a:pt x="160933" y="110354"/>
                  </a:cubicBezTo>
                  <a:lnTo>
                    <a:pt x="178684" y="90107"/>
                  </a:lnTo>
                  <a:cubicBezTo>
                    <a:pt x="179759" y="88850"/>
                    <a:pt x="180336" y="87241"/>
                    <a:pt x="180303" y="85585"/>
                  </a:cubicBezTo>
                  <a:cubicBezTo>
                    <a:pt x="180337" y="85181"/>
                    <a:pt x="180337" y="84774"/>
                    <a:pt x="180303" y="84370"/>
                  </a:cubicBezTo>
                  <a:cubicBezTo>
                    <a:pt x="179933" y="82416"/>
                    <a:pt x="178690" y="80739"/>
                    <a:pt x="176928" y="79815"/>
                  </a:cubicBezTo>
                  <a:lnTo>
                    <a:pt x="143182" y="62032"/>
                  </a:lnTo>
                  <a:lnTo>
                    <a:pt x="143182" y="62030"/>
                  </a:lnTo>
                  <a:cubicBezTo>
                    <a:pt x="144881" y="60872"/>
                    <a:pt x="146956" y="60401"/>
                    <a:pt x="148987" y="60714"/>
                  </a:cubicBezTo>
                  <a:lnTo>
                    <a:pt x="197615" y="68038"/>
                  </a:lnTo>
                  <a:cubicBezTo>
                    <a:pt x="199437" y="68312"/>
                    <a:pt x="201290" y="67796"/>
                    <a:pt x="202709" y="66620"/>
                  </a:cubicBezTo>
                  <a:lnTo>
                    <a:pt x="223260" y="49747"/>
                  </a:lnTo>
                  <a:lnTo>
                    <a:pt x="230920" y="43436"/>
                  </a:lnTo>
                  <a:close/>
                  <a:moveTo>
                    <a:pt x="133194" y="232311"/>
                  </a:moveTo>
                  <a:cubicBezTo>
                    <a:pt x="118270" y="232314"/>
                    <a:pt x="103503" y="229259"/>
                    <a:pt x="89805" y="223333"/>
                  </a:cubicBezTo>
                  <a:cubicBezTo>
                    <a:pt x="76108" y="217408"/>
                    <a:pt x="63771" y="208736"/>
                    <a:pt x="53554" y="197855"/>
                  </a:cubicBezTo>
                  <a:cubicBezTo>
                    <a:pt x="55550" y="196873"/>
                    <a:pt x="56905" y="194939"/>
                    <a:pt x="57149" y="192728"/>
                  </a:cubicBezTo>
                  <a:cubicBezTo>
                    <a:pt x="57393" y="190518"/>
                    <a:pt x="56492" y="188335"/>
                    <a:pt x="54759" y="186940"/>
                  </a:cubicBezTo>
                  <a:cubicBezTo>
                    <a:pt x="53026" y="185545"/>
                    <a:pt x="50701" y="185132"/>
                    <a:pt x="48593" y="185843"/>
                  </a:cubicBezTo>
                  <a:lnTo>
                    <a:pt x="44645" y="187158"/>
                  </a:lnTo>
                  <a:cubicBezTo>
                    <a:pt x="28445" y="164982"/>
                    <a:pt x="21166" y="137530"/>
                    <a:pt x="24251" y="110238"/>
                  </a:cubicBezTo>
                  <a:cubicBezTo>
                    <a:pt x="27337" y="82948"/>
                    <a:pt x="40561" y="57811"/>
                    <a:pt x="61304" y="39813"/>
                  </a:cubicBezTo>
                  <a:cubicBezTo>
                    <a:pt x="82047" y="21813"/>
                    <a:pt x="108796" y="12262"/>
                    <a:pt x="136248" y="13052"/>
                  </a:cubicBezTo>
                  <a:cubicBezTo>
                    <a:pt x="163700" y="13842"/>
                    <a:pt x="189853" y="24915"/>
                    <a:pt x="209529" y="44075"/>
                  </a:cubicBezTo>
                  <a:lnTo>
                    <a:pt x="196639" y="54706"/>
                  </a:lnTo>
                  <a:lnTo>
                    <a:pt x="150812" y="47956"/>
                  </a:lnTo>
                  <a:cubicBezTo>
                    <a:pt x="146644" y="47334"/>
                    <a:pt x="142384" y="47963"/>
                    <a:pt x="138576" y="49766"/>
                  </a:cubicBezTo>
                  <a:cubicBezTo>
                    <a:pt x="134766" y="51568"/>
                    <a:pt x="131578" y="54463"/>
                    <a:pt x="129418" y="58080"/>
                  </a:cubicBezTo>
                  <a:lnTo>
                    <a:pt x="127663" y="61050"/>
                  </a:lnTo>
                  <a:lnTo>
                    <a:pt x="127662" y="61051"/>
                  </a:lnTo>
                  <a:cubicBezTo>
                    <a:pt x="127044" y="62067"/>
                    <a:pt x="126717" y="63235"/>
                    <a:pt x="126717" y="64425"/>
                  </a:cubicBezTo>
                  <a:cubicBezTo>
                    <a:pt x="126722" y="65019"/>
                    <a:pt x="126813" y="65611"/>
                    <a:pt x="126988" y="66179"/>
                  </a:cubicBezTo>
                  <a:cubicBezTo>
                    <a:pt x="127500" y="67932"/>
                    <a:pt x="128724" y="69389"/>
                    <a:pt x="130362" y="70195"/>
                  </a:cubicBezTo>
                  <a:lnTo>
                    <a:pt x="163635" y="87710"/>
                  </a:lnTo>
                  <a:lnTo>
                    <a:pt x="152938" y="99959"/>
                  </a:lnTo>
                  <a:lnTo>
                    <a:pt x="150509" y="100229"/>
                  </a:lnTo>
                  <a:lnTo>
                    <a:pt x="150509" y="100228"/>
                  </a:lnTo>
                  <a:cubicBezTo>
                    <a:pt x="146359" y="100691"/>
                    <a:pt x="142437" y="102365"/>
                    <a:pt x="139231" y="105041"/>
                  </a:cubicBezTo>
                  <a:cubicBezTo>
                    <a:pt x="136027" y="107718"/>
                    <a:pt x="133682" y="111278"/>
                    <a:pt x="132488" y="115280"/>
                  </a:cubicBezTo>
                  <a:lnTo>
                    <a:pt x="131374" y="118957"/>
                  </a:lnTo>
                  <a:cubicBezTo>
                    <a:pt x="131198" y="119561"/>
                    <a:pt x="131107" y="120186"/>
                    <a:pt x="131105" y="120814"/>
                  </a:cubicBezTo>
                  <a:cubicBezTo>
                    <a:pt x="131107" y="122401"/>
                    <a:pt x="131688" y="123934"/>
                    <a:pt x="132737" y="125127"/>
                  </a:cubicBezTo>
                  <a:cubicBezTo>
                    <a:pt x="133786" y="126319"/>
                    <a:pt x="135233" y="127088"/>
                    <a:pt x="136807" y="127293"/>
                  </a:cubicBezTo>
                  <a:lnTo>
                    <a:pt x="147708" y="128677"/>
                  </a:lnTo>
                  <a:lnTo>
                    <a:pt x="148923" y="139576"/>
                  </a:lnTo>
                  <a:cubicBezTo>
                    <a:pt x="149170" y="141473"/>
                    <a:pt x="150236" y="143167"/>
                    <a:pt x="151839" y="144212"/>
                  </a:cubicBezTo>
                  <a:cubicBezTo>
                    <a:pt x="153442" y="145257"/>
                    <a:pt x="155421" y="145548"/>
                    <a:pt x="157258" y="145009"/>
                  </a:cubicBezTo>
                  <a:lnTo>
                    <a:pt x="160936" y="143829"/>
                  </a:lnTo>
                  <a:cubicBezTo>
                    <a:pt x="164942" y="142632"/>
                    <a:pt x="168506" y="140282"/>
                    <a:pt x="171183" y="137071"/>
                  </a:cubicBezTo>
                  <a:cubicBezTo>
                    <a:pt x="173860" y="133860"/>
                    <a:pt x="175531" y="129930"/>
                    <a:pt x="175986" y="125775"/>
                  </a:cubicBezTo>
                  <a:lnTo>
                    <a:pt x="176257" y="123345"/>
                  </a:lnTo>
                  <a:lnTo>
                    <a:pt x="188506" y="112580"/>
                  </a:lnTo>
                  <a:lnTo>
                    <a:pt x="206020" y="145853"/>
                  </a:lnTo>
                  <a:cubicBezTo>
                    <a:pt x="206806" y="147494"/>
                    <a:pt x="208255" y="148722"/>
                    <a:pt x="210002" y="149228"/>
                  </a:cubicBezTo>
                  <a:cubicBezTo>
                    <a:pt x="211731" y="149721"/>
                    <a:pt x="213588" y="149476"/>
                    <a:pt x="215131" y="148553"/>
                  </a:cubicBezTo>
                  <a:lnTo>
                    <a:pt x="218067" y="146765"/>
                  </a:lnTo>
                  <a:lnTo>
                    <a:pt x="218067" y="146764"/>
                  </a:lnTo>
                  <a:cubicBezTo>
                    <a:pt x="224509" y="142941"/>
                    <a:pt x="228449" y="135997"/>
                    <a:pt x="228427" y="128508"/>
                  </a:cubicBezTo>
                  <a:cubicBezTo>
                    <a:pt x="228433" y="127457"/>
                    <a:pt x="228354" y="126407"/>
                    <a:pt x="228191" y="125369"/>
                  </a:cubicBezTo>
                  <a:lnTo>
                    <a:pt x="221442" y="79509"/>
                  </a:lnTo>
                  <a:lnTo>
                    <a:pt x="229338" y="69959"/>
                  </a:lnTo>
                  <a:cubicBezTo>
                    <a:pt x="241599" y="92317"/>
                    <a:pt x="245679" y="118252"/>
                    <a:pt x="240882" y="143297"/>
                  </a:cubicBezTo>
                  <a:cubicBezTo>
                    <a:pt x="236084" y="168341"/>
                    <a:pt x="222708" y="190929"/>
                    <a:pt x="203054" y="207177"/>
                  </a:cubicBezTo>
                  <a:cubicBezTo>
                    <a:pt x="183399" y="223424"/>
                    <a:pt x="158698" y="232311"/>
                    <a:pt x="133198" y="232311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5610B41E-210B-9DB0-7A9B-87908F94BD0B}"/>
                </a:ext>
              </a:extLst>
            </p:cNvPr>
            <p:cNvSpPr/>
            <p:nvPr/>
          </p:nvSpPr>
          <p:spPr>
            <a:xfrm>
              <a:off x="352870" y="3974194"/>
              <a:ext cx="17824" cy="17465"/>
            </a:xfrm>
            <a:custGeom>
              <a:avLst/>
              <a:gdLst>
                <a:gd name="connsiteX0" fmla="*/ 6770 w 17824"/>
                <a:gd name="connsiteY0" fmla="*/ 1842 h 17465"/>
                <a:gd name="connsiteX1" fmla="*/ 2215 w 17824"/>
                <a:gd name="connsiteY1" fmla="*/ 6060 h 17465"/>
                <a:gd name="connsiteX2" fmla="*/ 6 w 17824"/>
                <a:gd name="connsiteY2" fmla="*/ 10679 h 17465"/>
                <a:gd name="connsiteX3" fmla="*/ 1819 w 17824"/>
                <a:gd name="connsiteY3" fmla="*/ 15467 h 17465"/>
                <a:gd name="connsiteX4" fmla="*/ 6534 w 17824"/>
                <a:gd name="connsiteY4" fmla="*/ 17465 h 17465"/>
                <a:gd name="connsiteX5" fmla="*/ 10853 w 17824"/>
                <a:gd name="connsiteY5" fmla="*/ 15812 h 17465"/>
                <a:gd name="connsiteX6" fmla="*/ 15848 w 17824"/>
                <a:gd name="connsiteY6" fmla="*/ 11189 h 17465"/>
                <a:gd name="connsiteX7" fmla="*/ 17627 w 17824"/>
                <a:gd name="connsiteY7" fmla="*/ 4921 h 17465"/>
                <a:gd name="connsiteX8" fmla="*/ 13088 w 17824"/>
                <a:gd name="connsiteY8" fmla="*/ 248 h 17465"/>
                <a:gd name="connsiteX9" fmla="*/ 6770 w 17824"/>
                <a:gd name="connsiteY9" fmla="*/ 1842 h 17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824" h="17465">
                  <a:moveTo>
                    <a:pt x="6770" y="1842"/>
                  </a:moveTo>
                  <a:cubicBezTo>
                    <a:pt x="5353" y="3226"/>
                    <a:pt x="3834" y="4643"/>
                    <a:pt x="2215" y="6060"/>
                  </a:cubicBezTo>
                  <a:cubicBezTo>
                    <a:pt x="879" y="7233"/>
                    <a:pt x="80" y="8902"/>
                    <a:pt x="6" y="10679"/>
                  </a:cubicBezTo>
                  <a:cubicBezTo>
                    <a:pt x="-69" y="12457"/>
                    <a:pt x="587" y="14187"/>
                    <a:pt x="1819" y="15467"/>
                  </a:cubicBezTo>
                  <a:cubicBezTo>
                    <a:pt x="3053" y="16749"/>
                    <a:pt x="4755" y="17471"/>
                    <a:pt x="6534" y="17465"/>
                  </a:cubicBezTo>
                  <a:cubicBezTo>
                    <a:pt x="8130" y="17471"/>
                    <a:pt x="9670" y="16881"/>
                    <a:pt x="10853" y="15812"/>
                  </a:cubicBezTo>
                  <a:cubicBezTo>
                    <a:pt x="12608" y="14260"/>
                    <a:pt x="14228" y="12708"/>
                    <a:pt x="15848" y="11189"/>
                  </a:cubicBezTo>
                  <a:cubicBezTo>
                    <a:pt x="17518" y="9567"/>
                    <a:pt x="18196" y="7178"/>
                    <a:pt x="17627" y="4921"/>
                  </a:cubicBezTo>
                  <a:cubicBezTo>
                    <a:pt x="17057" y="2664"/>
                    <a:pt x="15326" y="883"/>
                    <a:pt x="13088" y="248"/>
                  </a:cubicBezTo>
                  <a:cubicBezTo>
                    <a:pt x="10848" y="-388"/>
                    <a:pt x="8440" y="219"/>
                    <a:pt x="6770" y="1842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8A57F66E-DCF5-D861-0353-74FEA4BDE102}"/>
                </a:ext>
              </a:extLst>
            </p:cNvPr>
            <p:cNvSpPr/>
            <p:nvPr/>
          </p:nvSpPr>
          <p:spPr>
            <a:xfrm>
              <a:off x="213314" y="4000635"/>
              <a:ext cx="16574" cy="26187"/>
            </a:xfrm>
            <a:custGeom>
              <a:avLst/>
              <a:gdLst>
                <a:gd name="connsiteX0" fmla="*/ 13030 w 16574"/>
                <a:gd name="connsiteY0" fmla="*/ 20181 h 26187"/>
                <a:gd name="connsiteX1" fmla="*/ 16034 w 16574"/>
                <a:gd name="connsiteY1" fmla="*/ 9112 h 26187"/>
                <a:gd name="connsiteX2" fmla="*/ 15298 w 16574"/>
                <a:gd name="connsiteY2" fmla="*/ 2640 h 26187"/>
                <a:gd name="connsiteX3" fmla="*/ 9325 w 16574"/>
                <a:gd name="connsiteY3" fmla="*/ 42 h 26187"/>
                <a:gd name="connsiteX4" fmla="*/ 4088 w 16574"/>
                <a:gd name="connsiteY4" fmla="*/ 3915 h 26187"/>
                <a:gd name="connsiteX5" fmla="*/ 5 w 16574"/>
                <a:gd name="connsiteY5" fmla="*/ 19438 h 26187"/>
                <a:gd name="connsiteX6" fmla="*/ 1696 w 16574"/>
                <a:gd name="connsiteY6" fmla="*/ 24068 h 26187"/>
                <a:gd name="connsiteX7" fmla="*/ 6146 w 16574"/>
                <a:gd name="connsiteY7" fmla="*/ 26187 h 26187"/>
                <a:gd name="connsiteX8" fmla="*/ 6517 w 16574"/>
                <a:gd name="connsiteY8" fmla="*/ 26187 h 26187"/>
                <a:gd name="connsiteX9" fmla="*/ 10944 w 16574"/>
                <a:gd name="connsiteY9" fmla="*/ 24453 h 26187"/>
                <a:gd name="connsiteX10" fmla="*/ 13030 w 16574"/>
                <a:gd name="connsiteY10" fmla="*/ 20181 h 26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574" h="26187">
                  <a:moveTo>
                    <a:pt x="13030" y="20181"/>
                  </a:moveTo>
                  <a:cubicBezTo>
                    <a:pt x="13373" y="16343"/>
                    <a:pt x="14389" y="12595"/>
                    <a:pt x="16034" y="9112"/>
                  </a:cubicBezTo>
                  <a:cubicBezTo>
                    <a:pt x="16962" y="6978"/>
                    <a:pt x="16682" y="4511"/>
                    <a:pt x="15298" y="2640"/>
                  </a:cubicBezTo>
                  <a:cubicBezTo>
                    <a:pt x="13914" y="769"/>
                    <a:pt x="11638" y="-222"/>
                    <a:pt x="9325" y="42"/>
                  </a:cubicBezTo>
                  <a:cubicBezTo>
                    <a:pt x="7013" y="304"/>
                    <a:pt x="5017" y="1781"/>
                    <a:pt x="4088" y="3915"/>
                  </a:cubicBezTo>
                  <a:cubicBezTo>
                    <a:pt x="1824" y="8809"/>
                    <a:pt x="442" y="14064"/>
                    <a:pt x="5" y="19438"/>
                  </a:cubicBezTo>
                  <a:cubicBezTo>
                    <a:pt x="-59" y="21144"/>
                    <a:pt x="547" y="22806"/>
                    <a:pt x="1696" y="24068"/>
                  </a:cubicBezTo>
                  <a:cubicBezTo>
                    <a:pt x="2845" y="25330"/>
                    <a:pt x="4442" y="26091"/>
                    <a:pt x="6146" y="26187"/>
                  </a:cubicBezTo>
                  <a:lnTo>
                    <a:pt x="6517" y="26187"/>
                  </a:lnTo>
                  <a:cubicBezTo>
                    <a:pt x="8159" y="26185"/>
                    <a:pt x="9738" y="25565"/>
                    <a:pt x="10944" y="24453"/>
                  </a:cubicBezTo>
                  <a:cubicBezTo>
                    <a:pt x="12150" y="23341"/>
                    <a:pt x="12895" y="21816"/>
                    <a:pt x="13030" y="20181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B81D6535-CFD4-5EB9-D5A6-FB8D9EE27177}"/>
                </a:ext>
              </a:extLst>
            </p:cNvPr>
            <p:cNvSpPr/>
            <p:nvPr/>
          </p:nvSpPr>
          <p:spPr>
            <a:xfrm>
              <a:off x="223642" y="4031599"/>
              <a:ext cx="26847" cy="15244"/>
            </a:xfrm>
            <a:custGeom>
              <a:avLst/>
              <a:gdLst>
                <a:gd name="connsiteX0" fmla="*/ 20148 w 26847"/>
                <a:gd name="connsiteY0" fmla="*/ 2175 h 15244"/>
                <a:gd name="connsiteX1" fmla="*/ 19271 w 26847"/>
                <a:gd name="connsiteY1" fmla="*/ 2175 h 15244"/>
                <a:gd name="connsiteX2" fmla="*/ 9147 w 26847"/>
                <a:gd name="connsiteY2" fmla="*/ 556 h 15244"/>
                <a:gd name="connsiteX3" fmla="*/ 4103 w 26847"/>
                <a:gd name="connsiteY3" fmla="*/ 462 h 15244"/>
                <a:gd name="connsiteX4" fmla="*/ 505 w 26847"/>
                <a:gd name="connsiteY4" fmla="*/ 3998 h 15244"/>
                <a:gd name="connsiteX5" fmla="*/ 512 w 26847"/>
                <a:gd name="connsiteY5" fmla="*/ 9043 h 15244"/>
                <a:gd name="connsiteX6" fmla="*/ 4119 w 26847"/>
                <a:gd name="connsiteY6" fmla="*/ 12569 h 15244"/>
                <a:gd name="connsiteX7" fmla="*/ 19202 w 26847"/>
                <a:gd name="connsiteY7" fmla="*/ 15235 h 15244"/>
                <a:gd name="connsiteX8" fmla="*/ 20452 w 26847"/>
                <a:gd name="connsiteY8" fmla="*/ 15235 h 15244"/>
                <a:gd name="connsiteX9" fmla="*/ 26033 w 26847"/>
                <a:gd name="connsiteY9" fmla="*/ 11877 h 15244"/>
                <a:gd name="connsiteX10" fmla="*/ 25914 w 26847"/>
                <a:gd name="connsiteY10" fmla="*/ 5364 h 15244"/>
                <a:gd name="connsiteX11" fmla="*/ 20215 w 26847"/>
                <a:gd name="connsiteY11" fmla="*/ 2210 h 15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847" h="15244">
                  <a:moveTo>
                    <a:pt x="20148" y="2175"/>
                  </a:moveTo>
                  <a:lnTo>
                    <a:pt x="19271" y="2175"/>
                  </a:lnTo>
                  <a:cubicBezTo>
                    <a:pt x="15823" y="2299"/>
                    <a:pt x="12384" y="1748"/>
                    <a:pt x="9147" y="556"/>
                  </a:cubicBezTo>
                  <a:cubicBezTo>
                    <a:pt x="7546" y="-151"/>
                    <a:pt x="5729" y="-185"/>
                    <a:pt x="4103" y="462"/>
                  </a:cubicBezTo>
                  <a:cubicBezTo>
                    <a:pt x="2477" y="1110"/>
                    <a:pt x="1181" y="2384"/>
                    <a:pt x="505" y="3998"/>
                  </a:cubicBezTo>
                  <a:cubicBezTo>
                    <a:pt x="-170" y="5612"/>
                    <a:pt x="-168" y="7431"/>
                    <a:pt x="512" y="9043"/>
                  </a:cubicBezTo>
                  <a:cubicBezTo>
                    <a:pt x="1192" y="10656"/>
                    <a:pt x="2491" y="11927"/>
                    <a:pt x="4119" y="12569"/>
                  </a:cubicBezTo>
                  <a:cubicBezTo>
                    <a:pt x="8922" y="14443"/>
                    <a:pt x="14048" y="15348"/>
                    <a:pt x="19202" y="15235"/>
                  </a:cubicBezTo>
                  <a:lnTo>
                    <a:pt x="20452" y="15235"/>
                  </a:lnTo>
                  <a:cubicBezTo>
                    <a:pt x="22778" y="15193"/>
                    <a:pt x="24906" y="13913"/>
                    <a:pt x="26033" y="11877"/>
                  </a:cubicBezTo>
                  <a:cubicBezTo>
                    <a:pt x="27160" y="9841"/>
                    <a:pt x="27115" y="7358"/>
                    <a:pt x="25914" y="5364"/>
                  </a:cubicBezTo>
                  <a:cubicBezTo>
                    <a:pt x="24715" y="3370"/>
                    <a:pt x="22542" y="2168"/>
                    <a:pt x="20215" y="2210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0008C8ED-6E08-86D5-9BD4-3AC7F29A92EC}"/>
                </a:ext>
              </a:extLst>
            </p:cNvPr>
            <p:cNvSpPr/>
            <p:nvPr/>
          </p:nvSpPr>
          <p:spPr>
            <a:xfrm>
              <a:off x="292951" y="4011633"/>
              <a:ext cx="25304" cy="19415"/>
            </a:xfrm>
            <a:custGeom>
              <a:avLst/>
              <a:gdLst>
                <a:gd name="connsiteX0" fmla="*/ 15632 w 25304"/>
                <a:gd name="connsiteY0" fmla="*/ 814 h 19415"/>
                <a:gd name="connsiteX1" fmla="*/ 3686 w 25304"/>
                <a:gd name="connsiteY1" fmla="*/ 7023 h 19415"/>
                <a:gd name="connsiteX2" fmla="*/ 3686 w 25304"/>
                <a:gd name="connsiteY2" fmla="*/ 7024 h 19415"/>
                <a:gd name="connsiteX3" fmla="*/ 18 w 25304"/>
                <a:gd name="connsiteY3" fmla="*/ 12414 h 19415"/>
                <a:gd name="connsiteX4" fmla="*/ 2853 w 25304"/>
                <a:gd name="connsiteY4" fmla="*/ 18287 h 19415"/>
                <a:gd name="connsiteX5" fmla="*/ 9355 w 25304"/>
                <a:gd name="connsiteY5" fmla="*/ 18767 h 19415"/>
                <a:gd name="connsiteX6" fmla="*/ 21943 w 25304"/>
                <a:gd name="connsiteY6" fmla="*/ 12220 h 19415"/>
                <a:gd name="connsiteX7" fmla="*/ 21943 w 25304"/>
                <a:gd name="connsiteY7" fmla="*/ 12221 h 19415"/>
                <a:gd name="connsiteX8" fmla="*/ 25304 w 25304"/>
                <a:gd name="connsiteY8" fmla="*/ 6636 h 19415"/>
                <a:gd name="connsiteX9" fmla="*/ 22148 w 25304"/>
                <a:gd name="connsiteY9" fmla="*/ 934 h 19415"/>
                <a:gd name="connsiteX10" fmla="*/ 15632 w 25304"/>
                <a:gd name="connsiteY10" fmla="*/ 814 h 19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304" h="19415">
                  <a:moveTo>
                    <a:pt x="15632" y="814"/>
                  </a:moveTo>
                  <a:cubicBezTo>
                    <a:pt x="11548" y="3075"/>
                    <a:pt x="7532" y="5167"/>
                    <a:pt x="3686" y="7023"/>
                  </a:cubicBezTo>
                  <a:lnTo>
                    <a:pt x="3686" y="7024"/>
                  </a:lnTo>
                  <a:cubicBezTo>
                    <a:pt x="1587" y="8037"/>
                    <a:pt x="190" y="10092"/>
                    <a:pt x="18" y="12414"/>
                  </a:cubicBezTo>
                  <a:cubicBezTo>
                    <a:pt x="-154" y="14737"/>
                    <a:pt x="926" y="16976"/>
                    <a:pt x="2853" y="18287"/>
                  </a:cubicBezTo>
                  <a:cubicBezTo>
                    <a:pt x="4779" y="19596"/>
                    <a:pt x="7257" y="19780"/>
                    <a:pt x="9355" y="18767"/>
                  </a:cubicBezTo>
                  <a:cubicBezTo>
                    <a:pt x="13404" y="16809"/>
                    <a:pt x="17622" y="14615"/>
                    <a:pt x="21943" y="12220"/>
                  </a:cubicBezTo>
                  <a:lnTo>
                    <a:pt x="21943" y="12221"/>
                  </a:lnTo>
                  <a:cubicBezTo>
                    <a:pt x="23979" y="11094"/>
                    <a:pt x="25261" y="8965"/>
                    <a:pt x="25304" y="6636"/>
                  </a:cubicBezTo>
                  <a:cubicBezTo>
                    <a:pt x="25346" y="4309"/>
                    <a:pt x="24143" y="2134"/>
                    <a:pt x="22148" y="934"/>
                  </a:cubicBezTo>
                  <a:cubicBezTo>
                    <a:pt x="20153" y="-267"/>
                    <a:pt x="17669" y="-313"/>
                    <a:pt x="15632" y="814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80FB4EEB-4F34-D3F1-1F18-0F976A9D5ADF}"/>
                </a:ext>
              </a:extLst>
            </p:cNvPr>
            <p:cNvSpPr/>
            <p:nvPr/>
          </p:nvSpPr>
          <p:spPr>
            <a:xfrm>
              <a:off x="324326" y="3992383"/>
              <a:ext cx="24279" cy="20744"/>
            </a:xfrm>
            <a:custGeom>
              <a:avLst/>
              <a:gdLst>
                <a:gd name="connsiteX0" fmla="*/ 13953 w 24279"/>
                <a:gd name="connsiteY0" fmla="*/ 1233 h 20744"/>
                <a:gd name="connsiteX1" fmla="*/ 2783 w 24279"/>
                <a:gd name="connsiteY1" fmla="*/ 8893 h 20744"/>
                <a:gd name="connsiteX2" fmla="*/ 2782 w 24279"/>
                <a:gd name="connsiteY2" fmla="*/ 8893 h 20744"/>
                <a:gd name="connsiteX3" fmla="*/ 14 w 24279"/>
                <a:gd name="connsiteY3" fmla="*/ 14658 h 20744"/>
                <a:gd name="connsiteX4" fmla="*/ 3512 w 24279"/>
                <a:gd name="connsiteY4" fmla="*/ 20012 h 20744"/>
                <a:gd name="connsiteX5" fmla="*/ 9903 w 24279"/>
                <a:gd name="connsiteY5" fmla="*/ 19793 h 20744"/>
                <a:gd name="connsiteX6" fmla="*/ 21579 w 24279"/>
                <a:gd name="connsiteY6" fmla="*/ 11795 h 20744"/>
                <a:gd name="connsiteX7" fmla="*/ 24246 w 24279"/>
                <a:gd name="connsiteY7" fmla="*/ 5852 h 20744"/>
                <a:gd name="connsiteX8" fmla="*/ 20433 w 24279"/>
                <a:gd name="connsiteY8" fmla="*/ 571 h 20744"/>
                <a:gd name="connsiteX9" fmla="*/ 13953 w 24279"/>
                <a:gd name="connsiteY9" fmla="*/ 1233 h 20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79" h="20744">
                  <a:moveTo>
                    <a:pt x="13953" y="1233"/>
                  </a:moveTo>
                  <a:cubicBezTo>
                    <a:pt x="10376" y="3798"/>
                    <a:pt x="6630" y="6362"/>
                    <a:pt x="2783" y="8893"/>
                  </a:cubicBezTo>
                  <a:lnTo>
                    <a:pt x="2782" y="8893"/>
                  </a:lnTo>
                  <a:cubicBezTo>
                    <a:pt x="915" y="10198"/>
                    <a:pt x="-134" y="12384"/>
                    <a:pt x="14" y="14658"/>
                  </a:cubicBezTo>
                  <a:cubicBezTo>
                    <a:pt x="163" y="16932"/>
                    <a:pt x="1489" y="18962"/>
                    <a:pt x="3512" y="20012"/>
                  </a:cubicBezTo>
                  <a:cubicBezTo>
                    <a:pt x="5534" y="21062"/>
                    <a:pt x="7957" y="20979"/>
                    <a:pt x="9903" y="19793"/>
                  </a:cubicBezTo>
                  <a:cubicBezTo>
                    <a:pt x="13919" y="17161"/>
                    <a:pt x="17833" y="14495"/>
                    <a:pt x="21579" y="11795"/>
                  </a:cubicBezTo>
                  <a:cubicBezTo>
                    <a:pt x="23466" y="10433"/>
                    <a:pt x="24482" y="8168"/>
                    <a:pt x="24246" y="5852"/>
                  </a:cubicBezTo>
                  <a:cubicBezTo>
                    <a:pt x="24010" y="3537"/>
                    <a:pt x="22557" y="1524"/>
                    <a:pt x="20433" y="571"/>
                  </a:cubicBezTo>
                  <a:cubicBezTo>
                    <a:pt x="18310" y="-381"/>
                    <a:pt x="15839" y="-130"/>
                    <a:pt x="13953" y="1233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sp>
        <p:nvSpPr>
          <p:cNvPr id="36" name="Graphique 27">
            <a:extLst>
              <a:ext uri="{FF2B5EF4-FFF2-40B4-BE49-F238E27FC236}">
                <a16:creationId xmlns:a16="http://schemas.microsoft.com/office/drawing/2014/main" id="{E9AD7252-2564-6AAA-E969-36AFDB892ECB}"/>
              </a:ext>
            </a:extLst>
          </p:cNvPr>
          <p:cNvSpPr/>
          <p:nvPr/>
        </p:nvSpPr>
        <p:spPr>
          <a:xfrm>
            <a:off x="1411105" y="4913723"/>
            <a:ext cx="237110" cy="223938"/>
          </a:xfrm>
          <a:custGeom>
            <a:avLst/>
            <a:gdLst>
              <a:gd name="connsiteX0" fmla="*/ 1529608 w 3239136"/>
              <a:gd name="connsiteY0" fmla="*/ 0 h 3059199"/>
              <a:gd name="connsiteX1" fmla="*/ 1079729 w 3239136"/>
              <a:gd name="connsiteY1" fmla="*/ 449879 h 3059199"/>
              <a:gd name="connsiteX2" fmla="*/ 1079729 w 3239136"/>
              <a:gd name="connsiteY2" fmla="*/ 539868 h 3059199"/>
              <a:gd name="connsiteX3" fmla="*/ 449879 w 3239136"/>
              <a:gd name="connsiteY3" fmla="*/ 539868 h 3059199"/>
              <a:gd name="connsiteX4" fmla="*/ 0 w 3239136"/>
              <a:gd name="connsiteY4" fmla="*/ 989747 h 3059199"/>
              <a:gd name="connsiteX5" fmla="*/ 0 w 3239136"/>
              <a:gd name="connsiteY5" fmla="*/ 2609321 h 3059199"/>
              <a:gd name="connsiteX6" fmla="*/ 449879 w 3239136"/>
              <a:gd name="connsiteY6" fmla="*/ 3059200 h 3059199"/>
              <a:gd name="connsiteX7" fmla="*/ 2789257 w 3239136"/>
              <a:gd name="connsiteY7" fmla="*/ 3059200 h 3059199"/>
              <a:gd name="connsiteX8" fmla="*/ 3239136 w 3239136"/>
              <a:gd name="connsiteY8" fmla="*/ 2609321 h 3059199"/>
              <a:gd name="connsiteX9" fmla="*/ 3239136 w 3239136"/>
              <a:gd name="connsiteY9" fmla="*/ 989747 h 3059199"/>
              <a:gd name="connsiteX10" fmla="*/ 2789280 w 3239136"/>
              <a:gd name="connsiteY10" fmla="*/ 539868 h 3059199"/>
              <a:gd name="connsiteX11" fmla="*/ 2159430 w 3239136"/>
              <a:gd name="connsiteY11" fmla="*/ 539868 h 3059199"/>
              <a:gd name="connsiteX12" fmla="*/ 2159430 w 3239136"/>
              <a:gd name="connsiteY12" fmla="*/ 449879 h 3059199"/>
              <a:gd name="connsiteX13" fmla="*/ 1709551 w 3239136"/>
              <a:gd name="connsiteY13" fmla="*/ 0 h 3059199"/>
              <a:gd name="connsiteX14" fmla="*/ 1529608 w 3239136"/>
              <a:gd name="connsiteY14" fmla="*/ 179954 h 3059199"/>
              <a:gd name="connsiteX15" fmla="*/ 1709562 w 3239136"/>
              <a:gd name="connsiteY15" fmla="*/ 179954 h 3059199"/>
              <a:gd name="connsiteX16" fmla="*/ 1979482 w 3239136"/>
              <a:gd name="connsiteY16" fmla="*/ 449873 h 3059199"/>
              <a:gd name="connsiteX17" fmla="*/ 1979482 w 3239136"/>
              <a:gd name="connsiteY17" fmla="*/ 539862 h 3059199"/>
              <a:gd name="connsiteX18" fmla="*/ 1259678 w 3239136"/>
              <a:gd name="connsiteY18" fmla="*/ 539862 h 3059199"/>
              <a:gd name="connsiteX19" fmla="*/ 1259678 w 3239136"/>
              <a:gd name="connsiteY19" fmla="*/ 449873 h 3059199"/>
              <a:gd name="connsiteX20" fmla="*/ 1529597 w 3239136"/>
              <a:gd name="connsiteY20" fmla="*/ 179954 h 3059199"/>
              <a:gd name="connsiteX21" fmla="*/ 449873 w 3239136"/>
              <a:gd name="connsiteY21" fmla="*/ 719821 h 3059199"/>
              <a:gd name="connsiteX22" fmla="*/ 719816 w 3239136"/>
              <a:gd name="connsiteY22" fmla="*/ 719821 h 3059199"/>
              <a:gd name="connsiteX23" fmla="*/ 719816 w 3239136"/>
              <a:gd name="connsiteY23" fmla="*/ 2879291 h 3059199"/>
              <a:gd name="connsiteX24" fmla="*/ 899770 w 3239136"/>
              <a:gd name="connsiteY24" fmla="*/ 2879291 h 3059199"/>
              <a:gd name="connsiteX25" fmla="*/ 899770 w 3239136"/>
              <a:gd name="connsiteY25" fmla="*/ 719821 h 3059199"/>
              <a:gd name="connsiteX26" fmla="*/ 2339435 w 3239136"/>
              <a:gd name="connsiteY26" fmla="*/ 719821 h 3059199"/>
              <a:gd name="connsiteX27" fmla="*/ 2339435 w 3239136"/>
              <a:gd name="connsiteY27" fmla="*/ 2879291 h 3059199"/>
              <a:gd name="connsiteX28" fmla="*/ 2519389 w 3239136"/>
              <a:gd name="connsiteY28" fmla="*/ 2879291 h 3059199"/>
              <a:gd name="connsiteX29" fmla="*/ 2519367 w 3239136"/>
              <a:gd name="connsiteY29" fmla="*/ 719821 h 3059199"/>
              <a:gd name="connsiteX30" fmla="*/ 2789286 w 3239136"/>
              <a:gd name="connsiteY30" fmla="*/ 719821 h 3059199"/>
              <a:gd name="connsiteX31" fmla="*/ 3059229 w 3239136"/>
              <a:gd name="connsiteY31" fmla="*/ 989741 h 3059199"/>
              <a:gd name="connsiteX32" fmla="*/ 3059229 w 3239136"/>
              <a:gd name="connsiteY32" fmla="*/ 2609315 h 3059199"/>
              <a:gd name="connsiteX33" fmla="*/ 2789309 w 3239136"/>
              <a:gd name="connsiteY33" fmla="*/ 2879594 h 3059199"/>
              <a:gd name="connsiteX34" fmla="*/ 449874 w 3239136"/>
              <a:gd name="connsiteY34" fmla="*/ 2879594 h 3059199"/>
              <a:gd name="connsiteX35" fmla="*/ 179954 w 3239136"/>
              <a:gd name="connsiteY35" fmla="*/ 2609315 h 3059199"/>
              <a:gd name="connsiteX36" fmla="*/ 179954 w 3239136"/>
              <a:gd name="connsiteY36" fmla="*/ 989741 h 3059199"/>
              <a:gd name="connsiteX37" fmla="*/ 449874 w 3239136"/>
              <a:gd name="connsiteY37" fmla="*/ 719821 h 30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3239136" h="3059199">
                <a:moveTo>
                  <a:pt x="1529608" y="0"/>
                </a:moveTo>
                <a:cubicBezTo>
                  <a:pt x="1281920" y="0"/>
                  <a:pt x="1079729" y="202214"/>
                  <a:pt x="1079729" y="449879"/>
                </a:cubicBezTo>
                <a:lnTo>
                  <a:pt x="1079729" y="539868"/>
                </a:lnTo>
                <a:lnTo>
                  <a:pt x="449879" y="539868"/>
                </a:lnTo>
                <a:cubicBezTo>
                  <a:pt x="202214" y="539868"/>
                  <a:pt x="0" y="742081"/>
                  <a:pt x="0" y="989747"/>
                </a:cubicBezTo>
                <a:lnTo>
                  <a:pt x="0" y="2609321"/>
                </a:lnTo>
                <a:cubicBezTo>
                  <a:pt x="0" y="2856986"/>
                  <a:pt x="202214" y="3059200"/>
                  <a:pt x="449879" y="3059200"/>
                </a:cubicBezTo>
                <a:lnTo>
                  <a:pt x="2789257" y="3059200"/>
                </a:lnTo>
                <a:cubicBezTo>
                  <a:pt x="3036923" y="3059200"/>
                  <a:pt x="3239136" y="2856986"/>
                  <a:pt x="3239136" y="2609321"/>
                </a:cubicBezTo>
                <a:lnTo>
                  <a:pt x="3239136" y="989747"/>
                </a:lnTo>
                <a:cubicBezTo>
                  <a:pt x="3239159" y="742081"/>
                  <a:pt x="3036945" y="539868"/>
                  <a:pt x="2789280" y="539868"/>
                </a:cubicBezTo>
                <a:lnTo>
                  <a:pt x="2159430" y="539868"/>
                </a:lnTo>
                <a:lnTo>
                  <a:pt x="2159430" y="449879"/>
                </a:lnTo>
                <a:cubicBezTo>
                  <a:pt x="2159430" y="202214"/>
                  <a:pt x="1957239" y="0"/>
                  <a:pt x="1709551" y="0"/>
                </a:cubicBezTo>
                <a:close/>
                <a:moveTo>
                  <a:pt x="1529608" y="179954"/>
                </a:moveTo>
                <a:lnTo>
                  <a:pt x="1709562" y="179954"/>
                </a:lnTo>
                <a:cubicBezTo>
                  <a:pt x="1860655" y="179954"/>
                  <a:pt x="1979482" y="298786"/>
                  <a:pt x="1979482" y="449873"/>
                </a:cubicBezTo>
                <a:lnTo>
                  <a:pt x="1979482" y="539862"/>
                </a:lnTo>
                <a:lnTo>
                  <a:pt x="1259678" y="539862"/>
                </a:lnTo>
                <a:lnTo>
                  <a:pt x="1259678" y="449873"/>
                </a:lnTo>
                <a:cubicBezTo>
                  <a:pt x="1259678" y="298780"/>
                  <a:pt x="1378509" y="179954"/>
                  <a:pt x="1529597" y="179954"/>
                </a:cubicBezTo>
                <a:close/>
                <a:moveTo>
                  <a:pt x="449873" y="719821"/>
                </a:moveTo>
                <a:lnTo>
                  <a:pt x="719816" y="719821"/>
                </a:lnTo>
                <a:lnTo>
                  <a:pt x="719816" y="2879291"/>
                </a:lnTo>
                <a:lnTo>
                  <a:pt x="899770" y="2879291"/>
                </a:lnTo>
                <a:lnTo>
                  <a:pt x="899770" y="719821"/>
                </a:lnTo>
                <a:lnTo>
                  <a:pt x="2339435" y="719821"/>
                </a:lnTo>
                <a:lnTo>
                  <a:pt x="2339435" y="2879291"/>
                </a:lnTo>
                <a:lnTo>
                  <a:pt x="2519389" y="2879291"/>
                </a:lnTo>
                <a:lnTo>
                  <a:pt x="2519367" y="719821"/>
                </a:lnTo>
                <a:lnTo>
                  <a:pt x="2789286" y="719821"/>
                </a:lnTo>
                <a:cubicBezTo>
                  <a:pt x="2940397" y="719821"/>
                  <a:pt x="3059229" y="838631"/>
                  <a:pt x="3059229" y="989741"/>
                </a:cubicBezTo>
                <a:lnTo>
                  <a:pt x="3059229" y="2609315"/>
                </a:lnTo>
                <a:cubicBezTo>
                  <a:pt x="3059229" y="2760425"/>
                  <a:pt x="2940397" y="2879594"/>
                  <a:pt x="2789309" y="2879594"/>
                </a:cubicBezTo>
                <a:lnTo>
                  <a:pt x="449874" y="2879594"/>
                </a:lnTo>
                <a:cubicBezTo>
                  <a:pt x="298781" y="2879594"/>
                  <a:pt x="179954" y="2760408"/>
                  <a:pt x="179954" y="2609315"/>
                </a:cubicBezTo>
                <a:lnTo>
                  <a:pt x="179954" y="989741"/>
                </a:lnTo>
                <a:cubicBezTo>
                  <a:pt x="179954" y="838631"/>
                  <a:pt x="298786" y="719821"/>
                  <a:pt x="449874" y="719821"/>
                </a:cubicBezTo>
                <a:close/>
              </a:path>
            </a:pathLst>
          </a:custGeo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  <a:ln w="571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7" name="Graphique 30">
            <a:extLst>
              <a:ext uri="{FF2B5EF4-FFF2-40B4-BE49-F238E27FC236}">
                <a16:creationId xmlns:a16="http://schemas.microsoft.com/office/drawing/2014/main" id="{CE62E4D2-AC65-4EB3-FE46-05431D0FE99D}"/>
              </a:ext>
            </a:extLst>
          </p:cNvPr>
          <p:cNvSpPr/>
          <p:nvPr/>
        </p:nvSpPr>
        <p:spPr>
          <a:xfrm>
            <a:off x="1395022" y="4430516"/>
            <a:ext cx="269277" cy="270364"/>
          </a:xfrm>
          <a:custGeom>
            <a:avLst/>
            <a:gdLst>
              <a:gd name="connsiteX0" fmla="*/ 192359 w 319962"/>
              <a:gd name="connsiteY0" fmla="*/ 22357 h 321254"/>
              <a:gd name="connsiteX1" fmla="*/ 195176 w 319962"/>
              <a:gd name="connsiteY1" fmla="*/ 6918 h 321254"/>
              <a:gd name="connsiteX2" fmla="*/ 190455 w 319962"/>
              <a:gd name="connsiteY2" fmla="*/ 96 h 321254"/>
              <a:gd name="connsiteX3" fmla="*/ 183632 w 319962"/>
              <a:gd name="connsiteY3" fmla="*/ 4817 h 321254"/>
              <a:gd name="connsiteX4" fmla="*/ 183632 w 319962"/>
              <a:gd name="connsiteY4" fmla="*/ 4813 h 321254"/>
              <a:gd name="connsiteX5" fmla="*/ 180820 w 319962"/>
              <a:gd name="connsiteY5" fmla="*/ 20236 h 321254"/>
              <a:gd name="connsiteX6" fmla="*/ 156274 w 319962"/>
              <a:gd name="connsiteY6" fmla="*/ 18371 h 321254"/>
              <a:gd name="connsiteX7" fmla="*/ 57216 w 319962"/>
              <a:gd name="connsiteY7" fmla="*/ 51796 h 321254"/>
              <a:gd name="connsiteX8" fmla="*/ 165 w 319962"/>
              <a:gd name="connsiteY8" fmla="*/ 138829 h 321254"/>
              <a:gd name="connsiteX9" fmla="*/ 3154 w 319962"/>
              <a:gd name="connsiteY9" fmla="*/ 145416 h 321254"/>
              <a:gd name="connsiteX10" fmla="*/ 10265 w 319962"/>
              <a:gd name="connsiteY10" fmla="*/ 144101 h 321254"/>
              <a:gd name="connsiteX11" fmla="*/ 44928 w 319962"/>
              <a:gd name="connsiteY11" fmla="*/ 128572 h 321254"/>
              <a:gd name="connsiteX12" fmla="*/ 53471 w 319962"/>
              <a:gd name="connsiteY12" fmla="*/ 129346 h 321254"/>
              <a:gd name="connsiteX13" fmla="*/ 54532 w 319962"/>
              <a:gd name="connsiteY13" fmla="*/ 123577 h 321254"/>
              <a:gd name="connsiteX14" fmla="*/ 53476 w 319962"/>
              <a:gd name="connsiteY14" fmla="*/ 129350 h 321254"/>
              <a:gd name="connsiteX15" fmla="*/ 90274 w 319962"/>
              <a:gd name="connsiteY15" fmla="*/ 163316 h 321254"/>
              <a:gd name="connsiteX16" fmla="*/ 94922 w 319962"/>
              <a:gd name="connsiteY16" fmla="*/ 167654 h 321254"/>
              <a:gd name="connsiteX17" fmla="*/ 100789 w 319962"/>
              <a:gd name="connsiteY17" fmla="*/ 165225 h 321254"/>
              <a:gd name="connsiteX18" fmla="*/ 152905 w 319962"/>
              <a:gd name="connsiteY18" fmla="*/ 138219 h 321254"/>
              <a:gd name="connsiteX19" fmla="*/ 159250 w 319962"/>
              <a:gd name="connsiteY19" fmla="*/ 138548 h 321254"/>
              <a:gd name="connsiteX20" fmla="*/ 153726 w 319962"/>
              <a:gd name="connsiteY20" fmla="*/ 168831 h 321254"/>
              <a:gd name="connsiteX21" fmla="*/ 131591 w 319962"/>
              <a:gd name="connsiteY21" fmla="*/ 290283 h 321254"/>
              <a:gd name="connsiteX22" fmla="*/ 59279 w 319962"/>
              <a:gd name="connsiteY22" fmla="*/ 295745 h 321254"/>
              <a:gd name="connsiteX23" fmla="*/ 30767 w 319962"/>
              <a:gd name="connsiteY23" fmla="*/ 302007 h 321254"/>
              <a:gd name="connsiteX24" fmla="*/ 10599 w 319962"/>
              <a:gd name="connsiteY24" fmla="*/ 310397 h 321254"/>
              <a:gd name="connsiteX25" fmla="*/ 8709 w 319962"/>
              <a:gd name="connsiteY25" fmla="*/ 318475 h 321254"/>
              <a:gd name="connsiteX26" fmla="*/ 16787 w 319962"/>
              <a:gd name="connsiteY26" fmla="*/ 320362 h 321254"/>
              <a:gd name="connsiteX27" fmla="*/ 34108 w 319962"/>
              <a:gd name="connsiteY27" fmla="*/ 313256 h 321254"/>
              <a:gd name="connsiteX28" fmla="*/ 134952 w 319962"/>
              <a:gd name="connsiteY28" fmla="*/ 301991 h 321254"/>
              <a:gd name="connsiteX29" fmla="*/ 208761 w 319962"/>
              <a:gd name="connsiteY29" fmla="*/ 307330 h 321254"/>
              <a:gd name="connsiteX30" fmla="*/ 235806 w 319962"/>
              <a:gd name="connsiteY30" fmla="*/ 313259 h 321254"/>
              <a:gd name="connsiteX31" fmla="*/ 253123 w 319962"/>
              <a:gd name="connsiteY31" fmla="*/ 320369 h 321254"/>
              <a:gd name="connsiteX32" fmla="*/ 261201 w 319962"/>
              <a:gd name="connsiteY32" fmla="*/ 318485 h 321254"/>
              <a:gd name="connsiteX33" fmla="*/ 259319 w 319962"/>
              <a:gd name="connsiteY33" fmla="*/ 310404 h 321254"/>
              <a:gd name="connsiteX34" fmla="*/ 239147 w 319962"/>
              <a:gd name="connsiteY34" fmla="*/ 302007 h 321254"/>
              <a:gd name="connsiteX35" fmla="*/ 143522 w 319962"/>
              <a:gd name="connsiteY35" fmla="*/ 290328 h 321254"/>
              <a:gd name="connsiteX36" fmla="*/ 165282 w 319962"/>
              <a:gd name="connsiteY36" fmla="*/ 170943 h 321254"/>
              <a:gd name="connsiteX37" fmla="*/ 170790 w 319962"/>
              <a:gd name="connsiteY37" fmla="*/ 140745 h 321254"/>
              <a:gd name="connsiteX38" fmla="*/ 215339 w 319962"/>
              <a:gd name="connsiteY38" fmla="*/ 186113 h 321254"/>
              <a:gd name="connsiteX39" fmla="*/ 219978 w 319962"/>
              <a:gd name="connsiteY39" fmla="*/ 190459 h 321254"/>
              <a:gd name="connsiteX40" fmla="*/ 225853 w 319962"/>
              <a:gd name="connsiteY40" fmla="*/ 188033 h 321254"/>
              <a:gd name="connsiteX41" fmla="*/ 263694 w 319962"/>
              <a:gd name="connsiteY41" fmla="*/ 168463 h 321254"/>
              <a:gd name="connsiteX42" fmla="*/ 272258 w 319962"/>
              <a:gd name="connsiteY42" fmla="*/ 169241 h 321254"/>
              <a:gd name="connsiteX43" fmla="*/ 272269 w 319962"/>
              <a:gd name="connsiteY43" fmla="*/ 169241 h 321254"/>
              <a:gd name="connsiteX44" fmla="*/ 307497 w 319962"/>
              <a:gd name="connsiteY44" fmla="*/ 198289 h 321254"/>
              <a:gd name="connsiteX45" fmla="*/ 313688 w 319962"/>
              <a:gd name="connsiteY45" fmla="*/ 202033 h 321254"/>
              <a:gd name="connsiteX46" fmla="*/ 318808 w 319962"/>
              <a:gd name="connsiteY46" fmla="*/ 196920 h 321254"/>
              <a:gd name="connsiteX47" fmla="*/ 319962 w 319962"/>
              <a:gd name="connsiteY47" fmla="*/ 178027 h 321254"/>
              <a:gd name="connsiteX48" fmla="*/ 192359 w 319962"/>
              <a:gd name="connsiteY48" fmla="*/ 22361 h 321254"/>
              <a:gd name="connsiteX49" fmla="*/ 55587 w 319962"/>
              <a:gd name="connsiteY49" fmla="*/ 117803 h 321254"/>
              <a:gd name="connsiteX50" fmla="*/ 44928 w 319962"/>
              <a:gd name="connsiteY50" fmla="*/ 116833 h 321254"/>
              <a:gd name="connsiteX51" fmla="*/ 17077 w 319962"/>
              <a:gd name="connsiteY51" fmla="*/ 123987 h 321254"/>
              <a:gd name="connsiteX52" fmla="*/ 64343 w 319962"/>
              <a:gd name="connsiteY52" fmla="*/ 61112 h 321254"/>
              <a:gd name="connsiteX53" fmla="*/ 154088 w 319962"/>
              <a:gd name="connsiteY53" fmla="*/ 30155 h 321254"/>
              <a:gd name="connsiteX54" fmla="*/ 152245 w 319962"/>
              <a:gd name="connsiteY54" fmla="*/ 31505 h 321254"/>
              <a:gd name="connsiteX55" fmla="*/ 116506 w 319962"/>
              <a:gd name="connsiteY55" fmla="*/ 79223 h 321254"/>
              <a:gd name="connsiteX56" fmla="*/ 93917 w 319962"/>
              <a:gd name="connsiteY56" fmla="*/ 143005 h 321254"/>
              <a:gd name="connsiteX57" fmla="*/ 55593 w 319962"/>
              <a:gd name="connsiteY57" fmla="*/ 117803 h 321254"/>
              <a:gd name="connsiteX58" fmla="*/ 166794 w 319962"/>
              <a:gd name="connsiteY58" fmla="*/ 127750 h 321254"/>
              <a:gd name="connsiteX59" fmla="*/ 166805 w 319962"/>
              <a:gd name="connsiteY59" fmla="*/ 127750 h 321254"/>
              <a:gd name="connsiteX60" fmla="*/ 152907 w 319962"/>
              <a:gd name="connsiteY60" fmla="*/ 126483 h 321254"/>
              <a:gd name="connsiteX61" fmla="*/ 106062 w 319962"/>
              <a:gd name="connsiteY61" fmla="*/ 142705 h 321254"/>
              <a:gd name="connsiteX62" fmla="*/ 137348 w 319962"/>
              <a:gd name="connsiteY62" fmla="*/ 66201 h 321254"/>
              <a:gd name="connsiteX63" fmla="*/ 159445 w 319962"/>
              <a:gd name="connsiteY63" fmla="*/ 40764 h 321254"/>
              <a:gd name="connsiteX64" fmla="*/ 180215 w 319962"/>
              <a:gd name="connsiteY64" fmla="*/ 32288 h 321254"/>
              <a:gd name="connsiteX65" fmla="*/ 184134 w 319962"/>
              <a:gd name="connsiteY65" fmla="*/ 32639 h 321254"/>
              <a:gd name="connsiteX66" fmla="*/ 198251 w 319962"/>
              <a:gd name="connsiteY66" fmla="*/ 40853 h 321254"/>
              <a:gd name="connsiteX67" fmla="*/ 214492 w 319962"/>
              <a:gd name="connsiteY67" fmla="*/ 74011 h 321254"/>
              <a:gd name="connsiteX68" fmla="*/ 220535 w 319962"/>
              <a:gd name="connsiteY68" fmla="*/ 126752 h 321254"/>
              <a:gd name="connsiteX69" fmla="*/ 218329 w 319962"/>
              <a:gd name="connsiteY69" fmla="*/ 163169 h 321254"/>
              <a:gd name="connsiteX70" fmla="*/ 166794 w 319962"/>
              <a:gd name="connsiteY70" fmla="*/ 127749 h 321254"/>
              <a:gd name="connsiteX71" fmla="*/ 274360 w 319962"/>
              <a:gd name="connsiteY71" fmla="*/ 157690 h 321254"/>
              <a:gd name="connsiteX72" fmla="*/ 274371 w 319962"/>
              <a:gd name="connsiteY72" fmla="*/ 157690 h 321254"/>
              <a:gd name="connsiteX73" fmla="*/ 263684 w 319962"/>
              <a:gd name="connsiteY73" fmla="*/ 156719 h 321254"/>
              <a:gd name="connsiteX74" fmla="*/ 229556 w 319962"/>
              <a:gd name="connsiteY74" fmla="*/ 167828 h 321254"/>
              <a:gd name="connsiteX75" fmla="*/ 232278 w 319962"/>
              <a:gd name="connsiteY75" fmla="*/ 126753 h 321254"/>
              <a:gd name="connsiteX76" fmla="*/ 220915 w 319962"/>
              <a:gd name="connsiteY76" fmla="*/ 56005 h 321254"/>
              <a:gd name="connsiteX77" fmla="*/ 213049 w 319962"/>
              <a:gd name="connsiteY77" fmla="*/ 40895 h 321254"/>
              <a:gd name="connsiteX78" fmla="*/ 308192 w 319962"/>
              <a:gd name="connsiteY78" fmla="*/ 176986 h 321254"/>
              <a:gd name="connsiteX79" fmla="*/ 274360 w 319962"/>
              <a:gd name="connsiteY79" fmla="*/ 157690 h 32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319962" h="321254">
                <a:moveTo>
                  <a:pt x="192359" y="22357"/>
                </a:moveTo>
                <a:lnTo>
                  <a:pt x="195176" y="6918"/>
                </a:lnTo>
                <a:cubicBezTo>
                  <a:pt x="195755" y="3730"/>
                  <a:pt x="193639" y="671"/>
                  <a:pt x="190455" y="96"/>
                </a:cubicBezTo>
                <a:cubicBezTo>
                  <a:pt x="187270" y="-484"/>
                  <a:pt x="184212" y="1629"/>
                  <a:pt x="183632" y="4817"/>
                </a:cubicBezTo>
                <a:lnTo>
                  <a:pt x="183632" y="4813"/>
                </a:lnTo>
                <a:lnTo>
                  <a:pt x="180820" y="20236"/>
                </a:lnTo>
                <a:cubicBezTo>
                  <a:pt x="172578" y="19008"/>
                  <a:pt x="164375" y="18371"/>
                  <a:pt x="156274" y="18371"/>
                </a:cubicBezTo>
                <a:cubicBezTo>
                  <a:pt x="119551" y="18375"/>
                  <a:pt x="84884" y="30618"/>
                  <a:pt x="57216" y="51796"/>
                </a:cubicBezTo>
                <a:cubicBezTo>
                  <a:pt x="29546" y="72962"/>
                  <a:pt x="8849" y="103113"/>
                  <a:pt x="165" y="138829"/>
                </a:cubicBezTo>
                <a:cubicBezTo>
                  <a:pt x="-469" y="141446"/>
                  <a:pt x="764" y="144168"/>
                  <a:pt x="3154" y="145416"/>
                </a:cubicBezTo>
                <a:cubicBezTo>
                  <a:pt x="5544" y="146664"/>
                  <a:pt x="8481" y="146120"/>
                  <a:pt x="10265" y="144101"/>
                </a:cubicBezTo>
                <a:cubicBezTo>
                  <a:pt x="18773" y="134475"/>
                  <a:pt x="31352" y="128569"/>
                  <a:pt x="44928" y="128572"/>
                </a:cubicBezTo>
                <a:cubicBezTo>
                  <a:pt x="47745" y="128572"/>
                  <a:pt x="50596" y="128819"/>
                  <a:pt x="53471" y="129346"/>
                </a:cubicBezTo>
                <a:lnTo>
                  <a:pt x="54532" y="123577"/>
                </a:lnTo>
                <a:lnTo>
                  <a:pt x="53476" y="129350"/>
                </a:lnTo>
                <a:cubicBezTo>
                  <a:pt x="72118" y="132741"/>
                  <a:pt x="86060" y="146554"/>
                  <a:pt x="90274" y="163316"/>
                </a:cubicBezTo>
                <a:cubicBezTo>
                  <a:pt x="90837" y="165542"/>
                  <a:pt x="92653" y="167243"/>
                  <a:pt x="94922" y="167654"/>
                </a:cubicBezTo>
                <a:cubicBezTo>
                  <a:pt x="97183" y="168066"/>
                  <a:pt x="99483" y="167111"/>
                  <a:pt x="100789" y="165225"/>
                </a:cubicBezTo>
                <a:cubicBezTo>
                  <a:pt x="112258" y="148663"/>
                  <a:pt x="131699" y="138212"/>
                  <a:pt x="152905" y="138219"/>
                </a:cubicBezTo>
                <a:cubicBezTo>
                  <a:pt x="155006" y="138219"/>
                  <a:pt x="157122" y="138340"/>
                  <a:pt x="159250" y="138548"/>
                </a:cubicBezTo>
                <a:lnTo>
                  <a:pt x="153726" y="168831"/>
                </a:lnTo>
                <a:lnTo>
                  <a:pt x="131591" y="290283"/>
                </a:lnTo>
                <a:cubicBezTo>
                  <a:pt x="104750" y="290435"/>
                  <a:pt x="79883" y="292407"/>
                  <a:pt x="59279" y="295745"/>
                </a:cubicBezTo>
                <a:cubicBezTo>
                  <a:pt x="48537" y="297479"/>
                  <a:pt x="38950" y="299578"/>
                  <a:pt x="30767" y="302007"/>
                </a:cubicBezTo>
                <a:cubicBezTo>
                  <a:pt x="22583" y="304442"/>
                  <a:pt x="15824" y="307157"/>
                  <a:pt x="10599" y="310397"/>
                </a:cubicBezTo>
                <a:cubicBezTo>
                  <a:pt x="7845" y="312109"/>
                  <a:pt x="7000" y="315720"/>
                  <a:pt x="8709" y="318475"/>
                </a:cubicBezTo>
                <a:cubicBezTo>
                  <a:pt x="10418" y="321229"/>
                  <a:pt x="14037" y="322077"/>
                  <a:pt x="16787" y="320362"/>
                </a:cubicBezTo>
                <a:cubicBezTo>
                  <a:pt x="20604" y="317979"/>
                  <a:pt x="26562" y="315482"/>
                  <a:pt x="34108" y="313256"/>
                </a:cubicBezTo>
                <a:cubicBezTo>
                  <a:pt x="56799" y="306505"/>
                  <a:pt x="93623" y="301971"/>
                  <a:pt x="134952" y="301991"/>
                </a:cubicBezTo>
                <a:cubicBezTo>
                  <a:pt x="162526" y="301991"/>
                  <a:pt x="188049" y="303982"/>
                  <a:pt x="208761" y="307330"/>
                </a:cubicBezTo>
                <a:cubicBezTo>
                  <a:pt x="219112" y="309002"/>
                  <a:pt x="228257" y="311017"/>
                  <a:pt x="235806" y="313259"/>
                </a:cubicBezTo>
                <a:cubicBezTo>
                  <a:pt x="243351" y="315486"/>
                  <a:pt x="249304" y="317983"/>
                  <a:pt x="253123" y="320369"/>
                </a:cubicBezTo>
                <a:cubicBezTo>
                  <a:pt x="255877" y="322080"/>
                  <a:pt x="259491" y="321236"/>
                  <a:pt x="261201" y="318485"/>
                </a:cubicBezTo>
                <a:cubicBezTo>
                  <a:pt x="262910" y="315733"/>
                  <a:pt x="262073" y="312112"/>
                  <a:pt x="259319" y="310404"/>
                </a:cubicBezTo>
                <a:cubicBezTo>
                  <a:pt x="254089" y="307164"/>
                  <a:pt x="247333" y="304445"/>
                  <a:pt x="239147" y="302007"/>
                </a:cubicBezTo>
                <a:cubicBezTo>
                  <a:pt x="216323" y="295256"/>
                  <a:pt x="182230" y="290904"/>
                  <a:pt x="143522" y="290328"/>
                </a:cubicBezTo>
                <a:lnTo>
                  <a:pt x="165282" y="170943"/>
                </a:lnTo>
                <a:lnTo>
                  <a:pt x="170790" y="140745"/>
                </a:lnTo>
                <a:cubicBezTo>
                  <a:pt x="193351" y="147109"/>
                  <a:pt x="210020" y="164864"/>
                  <a:pt x="215339" y="186113"/>
                </a:cubicBezTo>
                <a:cubicBezTo>
                  <a:pt x="215899" y="188342"/>
                  <a:pt x="217710" y="190047"/>
                  <a:pt x="219978" y="190459"/>
                </a:cubicBezTo>
                <a:cubicBezTo>
                  <a:pt x="222240" y="190870"/>
                  <a:pt x="224539" y="189922"/>
                  <a:pt x="225853" y="188033"/>
                </a:cubicBezTo>
                <a:cubicBezTo>
                  <a:pt x="234176" y="176035"/>
                  <a:pt x="248290" y="168455"/>
                  <a:pt x="263694" y="168463"/>
                </a:cubicBezTo>
                <a:cubicBezTo>
                  <a:pt x="266519" y="168463"/>
                  <a:pt x="269379" y="168710"/>
                  <a:pt x="272258" y="169241"/>
                </a:cubicBezTo>
                <a:lnTo>
                  <a:pt x="272269" y="169241"/>
                </a:lnTo>
                <a:cubicBezTo>
                  <a:pt x="289042" y="172292"/>
                  <a:pt x="301985" y="183789"/>
                  <a:pt x="307497" y="198289"/>
                </a:cubicBezTo>
                <a:cubicBezTo>
                  <a:pt x="308453" y="200812"/>
                  <a:pt x="311015" y="202354"/>
                  <a:pt x="313688" y="202033"/>
                </a:cubicBezTo>
                <a:cubicBezTo>
                  <a:pt x="316364" y="201708"/>
                  <a:pt x="318479" y="199592"/>
                  <a:pt x="318808" y="196920"/>
                </a:cubicBezTo>
                <a:cubicBezTo>
                  <a:pt x="319581" y="190587"/>
                  <a:pt x="319962" y="184278"/>
                  <a:pt x="319962" y="178027"/>
                </a:cubicBezTo>
                <a:cubicBezTo>
                  <a:pt x="319940" y="104547"/>
                  <a:pt x="267553" y="38956"/>
                  <a:pt x="192359" y="22361"/>
                </a:cubicBezTo>
                <a:close/>
                <a:moveTo>
                  <a:pt x="55587" y="117803"/>
                </a:moveTo>
                <a:cubicBezTo>
                  <a:pt x="52000" y="117146"/>
                  <a:pt x="48436" y="116833"/>
                  <a:pt x="44928" y="116833"/>
                </a:cubicBezTo>
                <a:cubicBezTo>
                  <a:pt x="34946" y="116837"/>
                  <a:pt x="25433" y="119434"/>
                  <a:pt x="17077" y="123987"/>
                </a:cubicBezTo>
                <a:cubicBezTo>
                  <a:pt x="26821" y="98656"/>
                  <a:pt x="43394" y="77149"/>
                  <a:pt x="64343" y="61112"/>
                </a:cubicBezTo>
                <a:cubicBezTo>
                  <a:pt x="89447" y="41901"/>
                  <a:pt x="120803" y="30625"/>
                  <a:pt x="154088" y="30155"/>
                </a:cubicBezTo>
                <a:cubicBezTo>
                  <a:pt x="153474" y="30601"/>
                  <a:pt x="152855" y="31031"/>
                  <a:pt x="152245" y="31505"/>
                </a:cubicBezTo>
                <a:cubicBezTo>
                  <a:pt x="139072" y="41780"/>
                  <a:pt x="126965" y="58299"/>
                  <a:pt x="116506" y="79223"/>
                </a:cubicBezTo>
                <a:cubicBezTo>
                  <a:pt x="107400" y="97494"/>
                  <a:pt x="99608" y="119157"/>
                  <a:pt x="93917" y="143005"/>
                </a:cubicBezTo>
                <a:cubicBezTo>
                  <a:pt x="85487" y="130257"/>
                  <a:pt x="71965" y="120795"/>
                  <a:pt x="55593" y="117803"/>
                </a:cubicBezTo>
                <a:close/>
                <a:moveTo>
                  <a:pt x="166794" y="127750"/>
                </a:moveTo>
                <a:lnTo>
                  <a:pt x="166805" y="127750"/>
                </a:lnTo>
                <a:cubicBezTo>
                  <a:pt x="162135" y="126889"/>
                  <a:pt x="157483" y="126483"/>
                  <a:pt x="152907" y="126483"/>
                </a:cubicBezTo>
                <a:cubicBezTo>
                  <a:pt x="135477" y="126491"/>
                  <a:pt x="119055" y="132449"/>
                  <a:pt x="106062" y="142705"/>
                </a:cubicBezTo>
                <a:cubicBezTo>
                  <a:pt x="113663" y="112121"/>
                  <a:pt x="124822" y="85550"/>
                  <a:pt x="137348" y="66201"/>
                </a:cubicBezTo>
                <a:cubicBezTo>
                  <a:pt x="144482" y="55163"/>
                  <a:pt x="152063" y="46498"/>
                  <a:pt x="159445" y="40764"/>
                </a:cubicBezTo>
                <a:cubicBezTo>
                  <a:pt x="166853" y="35006"/>
                  <a:pt x="173894" y="32272"/>
                  <a:pt x="180215" y="32288"/>
                </a:cubicBezTo>
                <a:cubicBezTo>
                  <a:pt x="181533" y="32288"/>
                  <a:pt x="182835" y="32401"/>
                  <a:pt x="184134" y="32639"/>
                </a:cubicBezTo>
                <a:cubicBezTo>
                  <a:pt x="189176" y="33566"/>
                  <a:pt x="193826" y="36218"/>
                  <a:pt x="198251" y="40853"/>
                </a:cubicBezTo>
                <a:cubicBezTo>
                  <a:pt x="204866" y="47781"/>
                  <a:pt x="210600" y="59233"/>
                  <a:pt x="214492" y="74011"/>
                </a:cubicBezTo>
                <a:cubicBezTo>
                  <a:pt x="218404" y="88777"/>
                  <a:pt x="220543" y="106793"/>
                  <a:pt x="220535" y="126752"/>
                </a:cubicBezTo>
                <a:cubicBezTo>
                  <a:pt x="220539" y="138315"/>
                  <a:pt x="219812" y="150539"/>
                  <a:pt x="218329" y="163169"/>
                </a:cubicBezTo>
                <a:cubicBezTo>
                  <a:pt x="207551" y="145261"/>
                  <a:pt x="189228" y="131837"/>
                  <a:pt x="166794" y="127749"/>
                </a:cubicBezTo>
                <a:close/>
                <a:moveTo>
                  <a:pt x="274360" y="157690"/>
                </a:moveTo>
                <a:lnTo>
                  <a:pt x="274371" y="157690"/>
                </a:lnTo>
                <a:cubicBezTo>
                  <a:pt x="270773" y="157029"/>
                  <a:pt x="267197" y="156716"/>
                  <a:pt x="263684" y="156719"/>
                </a:cubicBezTo>
                <a:cubicBezTo>
                  <a:pt x="251100" y="156719"/>
                  <a:pt x="239237" y="160807"/>
                  <a:pt x="229556" y="167828"/>
                </a:cubicBezTo>
                <a:cubicBezTo>
                  <a:pt x="231362" y="153601"/>
                  <a:pt x="232274" y="139805"/>
                  <a:pt x="232278" y="126753"/>
                </a:cubicBezTo>
                <a:cubicBezTo>
                  <a:pt x="232263" y="99024"/>
                  <a:pt x="228382" y="74608"/>
                  <a:pt x="220915" y="56005"/>
                </a:cubicBezTo>
                <a:cubicBezTo>
                  <a:pt x="218654" y="50396"/>
                  <a:pt x="216010" y="45377"/>
                  <a:pt x="213049" y="40895"/>
                </a:cubicBezTo>
                <a:cubicBezTo>
                  <a:pt x="269907" y="63233"/>
                  <a:pt x="307768" y="117370"/>
                  <a:pt x="308192" y="176986"/>
                </a:cubicBezTo>
                <a:cubicBezTo>
                  <a:pt x="299798" y="167265"/>
                  <a:pt x="288087" y="160190"/>
                  <a:pt x="274360" y="157690"/>
                </a:cubicBezTo>
                <a:close/>
              </a:path>
            </a:pathLst>
          </a:custGeo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  <a:ln w="3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grpSp>
        <p:nvGrpSpPr>
          <p:cNvPr id="39" name="Graphique 24">
            <a:extLst>
              <a:ext uri="{FF2B5EF4-FFF2-40B4-BE49-F238E27FC236}">
                <a16:creationId xmlns:a16="http://schemas.microsoft.com/office/drawing/2014/main" id="{8619DA0D-5FDD-61D2-D94F-1B58BCB9EFBA}"/>
              </a:ext>
            </a:extLst>
          </p:cNvPr>
          <p:cNvGrpSpPr/>
          <p:nvPr/>
        </p:nvGrpSpPr>
        <p:grpSpPr>
          <a:xfrm>
            <a:off x="6523342" y="3876644"/>
            <a:ext cx="270754" cy="245349"/>
            <a:chOff x="213314" y="3840743"/>
            <a:chExt cx="270754" cy="245349"/>
          </a:xfr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</p:grpSpPr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7790C9F4-C59D-D95F-58CF-86068D552EC9}"/>
                </a:ext>
              </a:extLst>
            </p:cNvPr>
            <p:cNvSpPr/>
            <p:nvPr/>
          </p:nvSpPr>
          <p:spPr>
            <a:xfrm>
              <a:off x="228262" y="3840743"/>
              <a:ext cx="255806" cy="245349"/>
            </a:xfrm>
            <a:custGeom>
              <a:avLst/>
              <a:gdLst>
                <a:gd name="connsiteX0" fmla="*/ 238075 w 255806"/>
                <a:gd name="connsiteY0" fmla="*/ 59331 h 245349"/>
                <a:gd name="connsiteX1" fmla="*/ 242699 w 255806"/>
                <a:gd name="connsiteY1" fmla="*/ 53728 h 245349"/>
                <a:gd name="connsiteX2" fmla="*/ 246709 w 255806"/>
                <a:gd name="connsiteY2" fmla="*/ 43808 h 245349"/>
                <a:gd name="connsiteX3" fmla="*/ 242699 w 255806"/>
                <a:gd name="connsiteY3" fmla="*/ 33887 h 245349"/>
                <a:gd name="connsiteX4" fmla="*/ 242496 w 255806"/>
                <a:gd name="connsiteY4" fmla="*/ 33684 h 245349"/>
                <a:gd name="connsiteX5" fmla="*/ 242496 w 255806"/>
                <a:gd name="connsiteY5" fmla="*/ 33684 h 245349"/>
                <a:gd name="connsiteX6" fmla="*/ 232521 w 255806"/>
                <a:gd name="connsiteY6" fmla="*/ 29496 h 245349"/>
                <a:gd name="connsiteX7" fmla="*/ 222451 w 255806"/>
                <a:gd name="connsiteY7" fmla="*/ 33448 h 245349"/>
                <a:gd name="connsiteX8" fmla="*/ 219684 w 255806"/>
                <a:gd name="connsiteY8" fmla="*/ 35709 h 245349"/>
                <a:gd name="connsiteX9" fmla="*/ 132969 w 255806"/>
                <a:gd name="connsiteY9" fmla="*/ 0 h 245349"/>
                <a:gd name="connsiteX10" fmla="*/ 46386 w 255806"/>
                <a:gd name="connsiteY10" fmla="*/ 36027 h 245349"/>
                <a:gd name="connsiteX11" fmla="*/ 10596 w 255806"/>
                <a:gd name="connsiteY11" fmla="*/ 122705 h 245349"/>
                <a:gd name="connsiteX12" fmla="*/ 11305 w 255806"/>
                <a:gd name="connsiteY12" fmla="*/ 135866 h 245349"/>
                <a:gd name="connsiteX13" fmla="*/ 7817 w 255806"/>
                <a:gd name="connsiteY13" fmla="*/ 136361 h 245349"/>
                <a:gd name="connsiteX14" fmla="*/ 5096 w 255806"/>
                <a:gd name="connsiteY14" fmla="*/ 138599 h 245349"/>
                <a:gd name="connsiteX15" fmla="*/ 4050 w 255806"/>
                <a:gd name="connsiteY15" fmla="*/ 139984 h 245349"/>
                <a:gd name="connsiteX16" fmla="*/ 1283 w 255806"/>
                <a:gd name="connsiteY16" fmla="*/ 143594 h 245349"/>
                <a:gd name="connsiteX17" fmla="*/ 70 w 255806"/>
                <a:gd name="connsiteY17" fmla="*/ 148429 h 245349"/>
                <a:gd name="connsiteX18" fmla="*/ 2632 w 255806"/>
                <a:gd name="connsiteY18" fmla="*/ 152705 h 245349"/>
                <a:gd name="connsiteX19" fmla="*/ 7467 w 255806"/>
                <a:gd name="connsiteY19" fmla="*/ 153918 h 245349"/>
                <a:gd name="connsiteX20" fmla="*/ 11744 w 255806"/>
                <a:gd name="connsiteY20" fmla="*/ 151355 h 245349"/>
                <a:gd name="connsiteX21" fmla="*/ 13465 w 255806"/>
                <a:gd name="connsiteY21" fmla="*/ 149094 h 245349"/>
                <a:gd name="connsiteX22" fmla="*/ 32227 w 255806"/>
                <a:gd name="connsiteY22" fmla="*/ 192188 h 245349"/>
                <a:gd name="connsiteX23" fmla="*/ 30976 w 255806"/>
                <a:gd name="connsiteY23" fmla="*/ 196707 h 245349"/>
                <a:gd name="connsiteX24" fmla="*/ 33084 w 255806"/>
                <a:gd name="connsiteY24" fmla="*/ 200894 h 245349"/>
                <a:gd name="connsiteX25" fmla="*/ 37458 w 255806"/>
                <a:gd name="connsiteY25" fmla="*/ 202582 h 245349"/>
                <a:gd name="connsiteX26" fmla="*/ 39112 w 255806"/>
                <a:gd name="connsiteY26" fmla="*/ 202345 h 245349"/>
                <a:gd name="connsiteX27" fmla="*/ 39888 w 255806"/>
                <a:gd name="connsiteY27" fmla="*/ 202143 h 245349"/>
                <a:gd name="connsiteX28" fmla="*/ 39887 w 255806"/>
                <a:gd name="connsiteY28" fmla="*/ 202143 h 245349"/>
                <a:gd name="connsiteX29" fmla="*/ 118472 w 255806"/>
                <a:gd name="connsiteY29" fmla="*/ 244451 h 245349"/>
                <a:gd name="connsiteX30" fmla="*/ 204909 w 255806"/>
                <a:gd name="connsiteY30" fmla="*/ 222229 h 245349"/>
                <a:gd name="connsiteX31" fmla="*/ 253343 w 255806"/>
                <a:gd name="connsiteY31" fmla="*/ 147266 h 245349"/>
                <a:gd name="connsiteX32" fmla="*/ 238078 w 255806"/>
                <a:gd name="connsiteY32" fmla="*/ 59333 h 245349"/>
                <a:gd name="connsiteX33" fmla="*/ 231326 w 255806"/>
                <a:gd name="connsiteY33" fmla="*/ 42896 h 245349"/>
                <a:gd name="connsiteX34" fmla="*/ 233014 w 255806"/>
                <a:gd name="connsiteY34" fmla="*/ 42694 h 245349"/>
                <a:gd name="connsiteX35" fmla="*/ 233216 w 255806"/>
                <a:gd name="connsiteY35" fmla="*/ 42896 h 245349"/>
                <a:gd name="connsiteX36" fmla="*/ 233216 w 255806"/>
                <a:gd name="connsiteY36" fmla="*/ 44787 h 245349"/>
                <a:gd name="connsiteX37" fmla="*/ 232777 w 255806"/>
                <a:gd name="connsiteY37" fmla="*/ 45225 h 245349"/>
                <a:gd name="connsiteX38" fmla="*/ 225050 w 255806"/>
                <a:gd name="connsiteY38" fmla="*/ 54572 h 245349"/>
                <a:gd name="connsiteX39" fmla="*/ 209527 w 255806"/>
                <a:gd name="connsiteY39" fmla="*/ 73436 h 245349"/>
                <a:gd name="connsiteX40" fmla="*/ 208177 w 255806"/>
                <a:gd name="connsiteY40" fmla="*/ 77587 h 245349"/>
                <a:gd name="connsiteX41" fmla="*/ 208177 w 255806"/>
                <a:gd name="connsiteY41" fmla="*/ 78533 h 245349"/>
                <a:gd name="connsiteX42" fmla="*/ 215364 w 255806"/>
                <a:gd name="connsiteY42" fmla="*/ 127295 h 245349"/>
                <a:gd name="connsiteX43" fmla="*/ 215364 w 255806"/>
                <a:gd name="connsiteY43" fmla="*/ 128510 h 245349"/>
                <a:gd name="connsiteX44" fmla="*/ 213947 w 255806"/>
                <a:gd name="connsiteY44" fmla="*/ 133099 h 245349"/>
                <a:gd name="connsiteX45" fmla="*/ 196164 w 255806"/>
                <a:gd name="connsiteY45" fmla="*/ 99354 h 245349"/>
                <a:gd name="connsiteX46" fmla="*/ 191574 w 255806"/>
                <a:gd name="connsiteY46" fmla="*/ 95979 h 245349"/>
                <a:gd name="connsiteX47" fmla="*/ 186107 w 255806"/>
                <a:gd name="connsiteY47" fmla="*/ 97463 h 245349"/>
                <a:gd name="connsiteX48" fmla="*/ 165860 w 255806"/>
                <a:gd name="connsiteY48" fmla="*/ 115247 h 245349"/>
                <a:gd name="connsiteX49" fmla="*/ 165860 w 255806"/>
                <a:gd name="connsiteY49" fmla="*/ 115248 h 245349"/>
                <a:gd name="connsiteX50" fmla="*/ 163565 w 255806"/>
                <a:gd name="connsiteY50" fmla="*/ 119331 h 245349"/>
                <a:gd name="connsiteX51" fmla="*/ 163025 w 255806"/>
                <a:gd name="connsiteY51" fmla="*/ 124292 h 245349"/>
                <a:gd name="connsiteX52" fmla="*/ 163026 w 255806"/>
                <a:gd name="connsiteY52" fmla="*/ 124292 h 245349"/>
                <a:gd name="connsiteX53" fmla="*/ 160731 w 255806"/>
                <a:gd name="connsiteY53" fmla="*/ 129117 h 245349"/>
                <a:gd name="connsiteX54" fmla="*/ 159887 w 255806"/>
                <a:gd name="connsiteY54" fmla="*/ 122368 h 245349"/>
                <a:gd name="connsiteX55" fmla="*/ 157559 w 255806"/>
                <a:gd name="connsiteY55" fmla="*/ 118453 h 245349"/>
                <a:gd name="connsiteX56" fmla="*/ 153441 w 255806"/>
                <a:gd name="connsiteY56" fmla="*/ 116227 h 245349"/>
                <a:gd name="connsiteX57" fmla="*/ 146692 w 255806"/>
                <a:gd name="connsiteY57" fmla="*/ 115383 h 245349"/>
                <a:gd name="connsiteX58" fmla="*/ 151518 w 255806"/>
                <a:gd name="connsiteY58" fmla="*/ 113122 h 245349"/>
                <a:gd name="connsiteX59" fmla="*/ 156749 w 255806"/>
                <a:gd name="connsiteY59" fmla="*/ 112582 h 245349"/>
                <a:gd name="connsiteX60" fmla="*/ 160933 w 255806"/>
                <a:gd name="connsiteY60" fmla="*/ 110354 h 245349"/>
                <a:gd name="connsiteX61" fmla="*/ 178684 w 255806"/>
                <a:gd name="connsiteY61" fmla="*/ 90107 h 245349"/>
                <a:gd name="connsiteX62" fmla="*/ 180303 w 255806"/>
                <a:gd name="connsiteY62" fmla="*/ 85585 h 245349"/>
                <a:gd name="connsiteX63" fmla="*/ 180303 w 255806"/>
                <a:gd name="connsiteY63" fmla="*/ 84370 h 245349"/>
                <a:gd name="connsiteX64" fmla="*/ 176928 w 255806"/>
                <a:gd name="connsiteY64" fmla="*/ 79815 h 245349"/>
                <a:gd name="connsiteX65" fmla="*/ 143182 w 255806"/>
                <a:gd name="connsiteY65" fmla="*/ 62032 h 245349"/>
                <a:gd name="connsiteX66" fmla="*/ 143182 w 255806"/>
                <a:gd name="connsiteY66" fmla="*/ 62030 h 245349"/>
                <a:gd name="connsiteX67" fmla="*/ 148987 w 255806"/>
                <a:gd name="connsiteY67" fmla="*/ 60714 h 245349"/>
                <a:gd name="connsiteX68" fmla="*/ 197615 w 255806"/>
                <a:gd name="connsiteY68" fmla="*/ 68038 h 245349"/>
                <a:gd name="connsiteX69" fmla="*/ 202709 w 255806"/>
                <a:gd name="connsiteY69" fmla="*/ 66620 h 245349"/>
                <a:gd name="connsiteX70" fmla="*/ 223260 w 255806"/>
                <a:gd name="connsiteY70" fmla="*/ 49747 h 245349"/>
                <a:gd name="connsiteX71" fmla="*/ 230920 w 255806"/>
                <a:gd name="connsiteY71" fmla="*/ 43436 h 245349"/>
                <a:gd name="connsiteX72" fmla="*/ 133194 w 255806"/>
                <a:gd name="connsiteY72" fmla="*/ 232311 h 245349"/>
                <a:gd name="connsiteX73" fmla="*/ 89805 w 255806"/>
                <a:gd name="connsiteY73" fmla="*/ 223333 h 245349"/>
                <a:gd name="connsiteX74" fmla="*/ 53554 w 255806"/>
                <a:gd name="connsiteY74" fmla="*/ 197855 h 245349"/>
                <a:gd name="connsiteX75" fmla="*/ 57149 w 255806"/>
                <a:gd name="connsiteY75" fmla="*/ 192728 h 245349"/>
                <a:gd name="connsiteX76" fmla="*/ 54759 w 255806"/>
                <a:gd name="connsiteY76" fmla="*/ 186940 h 245349"/>
                <a:gd name="connsiteX77" fmla="*/ 48593 w 255806"/>
                <a:gd name="connsiteY77" fmla="*/ 185843 h 245349"/>
                <a:gd name="connsiteX78" fmla="*/ 44645 w 255806"/>
                <a:gd name="connsiteY78" fmla="*/ 187158 h 245349"/>
                <a:gd name="connsiteX79" fmla="*/ 24251 w 255806"/>
                <a:gd name="connsiteY79" fmla="*/ 110238 h 245349"/>
                <a:gd name="connsiteX80" fmla="*/ 61304 w 255806"/>
                <a:gd name="connsiteY80" fmla="*/ 39813 h 245349"/>
                <a:gd name="connsiteX81" fmla="*/ 136248 w 255806"/>
                <a:gd name="connsiteY81" fmla="*/ 13052 h 245349"/>
                <a:gd name="connsiteX82" fmla="*/ 209529 w 255806"/>
                <a:gd name="connsiteY82" fmla="*/ 44075 h 245349"/>
                <a:gd name="connsiteX83" fmla="*/ 196639 w 255806"/>
                <a:gd name="connsiteY83" fmla="*/ 54706 h 245349"/>
                <a:gd name="connsiteX84" fmla="*/ 150812 w 255806"/>
                <a:gd name="connsiteY84" fmla="*/ 47956 h 245349"/>
                <a:gd name="connsiteX85" fmla="*/ 138576 w 255806"/>
                <a:gd name="connsiteY85" fmla="*/ 49766 h 245349"/>
                <a:gd name="connsiteX86" fmla="*/ 129418 w 255806"/>
                <a:gd name="connsiteY86" fmla="*/ 58080 h 245349"/>
                <a:gd name="connsiteX87" fmla="*/ 127663 w 255806"/>
                <a:gd name="connsiteY87" fmla="*/ 61050 h 245349"/>
                <a:gd name="connsiteX88" fmla="*/ 127662 w 255806"/>
                <a:gd name="connsiteY88" fmla="*/ 61051 h 245349"/>
                <a:gd name="connsiteX89" fmla="*/ 126717 w 255806"/>
                <a:gd name="connsiteY89" fmla="*/ 64425 h 245349"/>
                <a:gd name="connsiteX90" fmla="*/ 126988 w 255806"/>
                <a:gd name="connsiteY90" fmla="*/ 66179 h 245349"/>
                <a:gd name="connsiteX91" fmla="*/ 130362 w 255806"/>
                <a:gd name="connsiteY91" fmla="*/ 70195 h 245349"/>
                <a:gd name="connsiteX92" fmla="*/ 163635 w 255806"/>
                <a:gd name="connsiteY92" fmla="*/ 87710 h 245349"/>
                <a:gd name="connsiteX93" fmla="*/ 152938 w 255806"/>
                <a:gd name="connsiteY93" fmla="*/ 99959 h 245349"/>
                <a:gd name="connsiteX94" fmla="*/ 150509 w 255806"/>
                <a:gd name="connsiteY94" fmla="*/ 100229 h 245349"/>
                <a:gd name="connsiteX95" fmla="*/ 150509 w 255806"/>
                <a:gd name="connsiteY95" fmla="*/ 100228 h 245349"/>
                <a:gd name="connsiteX96" fmla="*/ 139231 w 255806"/>
                <a:gd name="connsiteY96" fmla="*/ 105041 h 245349"/>
                <a:gd name="connsiteX97" fmla="*/ 132488 w 255806"/>
                <a:gd name="connsiteY97" fmla="*/ 115280 h 245349"/>
                <a:gd name="connsiteX98" fmla="*/ 131374 w 255806"/>
                <a:gd name="connsiteY98" fmla="*/ 118957 h 245349"/>
                <a:gd name="connsiteX99" fmla="*/ 131105 w 255806"/>
                <a:gd name="connsiteY99" fmla="*/ 120814 h 245349"/>
                <a:gd name="connsiteX100" fmla="*/ 132737 w 255806"/>
                <a:gd name="connsiteY100" fmla="*/ 125127 h 245349"/>
                <a:gd name="connsiteX101" fmla="*/ 136807 w 255806"/>
                <a:gd name="connsiteY101" fmla="*/ 127293 h 245349"/>
                <a:gd name="connsiteX102" fmla="*/ 147708 w 255806"/>
                <a:gd name="connsiteY102" fmla="*/ 128677 h 245349"/>
                <a:gd name="connsiteX103" fmla="*/ 148923 w 255806"/>
                <a:gd name="connsiteY103" fmla="*/ 139576 h 245349"/>
                <a:gd name="connsiteX104" fmla="*/ 151839 w 255806"/>
                <a:gd name="connsiteY104" fmla="*/ 144212 h 245349"/>
                <a:gd name="connsiteX105" fmla="*/ 157258 w 255806"/>
                <a:gd name="connsiteY105" fmla="*/ 145009 h 245349"/>
                <a:gd name="connsiteX106" fmla="*/ 160936 w 255806"/>
                <a:gd name="connsiteY106" fmla="*/ 143829 h 245349"/>
                <a:gd name="connsiteX107" fmla="*/ 171183 w 255806"/>
                <a:gd name="connsiteY107" fmla="*/ 137071 h 245349"/>
                <a:gd name="connsiteX108" fmla="*/ 175986 w 255806"/>
                <a:gd name="connsiteY108" fmla="*/ 125775 h 245349"/>
                <a:gd name="connsiteX109" fmla="*/ 176257 w 255806"/>
                <a:gd name="connsiteY109" fmla="*/ 123345 h 245349"/>
                <a:gd name="connsiteX110" fmla="*/ 188506 w 255806"/>
                <a:gd name="connsiteY110" fmla="*/ 112580 h 245349"/>
                <a:gd name="connsiteX111" fmla="*/ 206020 w 255806"/>
                <a:gd name="connsiteY111" fmla="*/ 145853 h 245349"/>
                <a:gd name="connsiteX112" fmla="*/ 210002 w 255806"/>
                <a:gd name="connsiteY112" fmla="*/ 149228 h 245349"/>
                <a:gd name="connsiteX113" fmla="*/ 215131 w 255806"/>
                <a:gd name="connsiteY113" fmla="*/ 148553 h 245349"/>
                <a:gd name="connsiteX114" fmla="*/ 218067 w 255806"/>
                <a:gd name="connsiteY114" fmla="*/ 146765 h 245349"/>
                <a:gd name="connsiteX115" fmla="*/ 218067 w 255806"/>
                <a:gd name="connsiteY115" fmla="*/ 146764 h 245349"/>
                <a:gd name="connsiteX116" fmla="*/ 228427 w 255806"/>
                <a:gd name="connsiteY116" fmla="*/ 128508 h 245349"/>
                <a:gd name="connsiteX117" fmla="*/ 228191 w 255806"/>
                <a:gd name="connsiteY117" fmla="*/ 125369 h 245349"/>
                <a:gd name="connsiteX118" fmla="*/ 221442 w 255806"/>
                <a:gd name="connsiteY118" fmla="*/ 79509 h 245349"/>
                <a:gd name="connsiteX119" fmla="*/ 229338 w 255806"/>
                <a:gd name="connsiteY119" fmla="*/ 69959 h 245349"/>
                <a:gd name="connsiteX120" fmla="*/ 240882 w 255806"/>
                <a:gd name="connsiteY120" fmla="*/ 143297 h 245349"/>
                <a:gd name="connsiteX121" fmla="*/ 203054 w 255806"/>
                <a:gd name="connsiteY121" fmla="*/ 207177 h 245349"/>
                <a:gd name="connsiteX122" fmla="*/ 133198 w 255806"/>
                <a:gd name="connsiteY122" fmla="*/ 232311 h 245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255806" h="245349">
                  <a:moveTo>
                    <a:pt x="238075" y="59331"/>
                  </a:moveTo>
                  <a:lnTo>
                    <a:pt x="242699" y="53728"/>
                  </a:lnTo>
                  <a:cubicBezTo>
                    <a:pt x="245272" y="51067"/>
                    <a:pt x="246709" y="47510"/>
                    <a:pt x="246709" y="43808"/>
                  </a:cubicBezTo>
                  <a:cubicBezTo>
                    <a:pt x="246709" y="40105"/>
                    <a:pt x="245272" y="36548"/>
                    <a:pt x="242699" y="33887"/>
                  </a:cubicBezTo>
                  <a:lnTo>
                    <a:pt x="242496" y="33684"/>
                  </a:lnTo>
                  <a:lnTo>
                    <a:pt x="242496" y="33684"/>
                  </a:lnTo>
                  <a:cubicBezTo>
                    <a:pt x="239841" y="31043"/>
                    <a:pt x="236264" y="29540"/>
                    <a:pt x="232521" y="29496"/>
                  </a:cubicBezTo>
                  <a:cubicBezTo>
                    <a:pt x="228777" y="29451"/>
                    <a:pt x="225165" y="30869"/>
                    <a:pt x="222451" y="33448"/>
                  </a:cubicBezTo>
                  <a:lnTo>
                    <a:pt x="219684" y="35709"/>
                  </a:lnTo>
                  <a:cubicBezTo>
                    <a:pt x="196653" y="12784"/>
                    <a:pt x="165466" y="-59"/>
                    <a:pt x="132969" y="0"/>
                  </a:cubicBezTo>
                  <a:cubicBezTo>
                    <a:pt x="100475" y="60"/>
                    <a:pt x="69333" y="13016"/>
                    <a:pt x="46386" y="36027"/>
                  </a:cubicBezTo>
                  <a:cubicBezTo>
                    <a:pt x="23441" y="59034"/>
                    <a:pt x="10568" y="90211"/>
                    <a:pt x="10596" y="122705"/>
                  </a:cubicBezTo>
                  <a:cubicBezTo>
                    <a:pt x="10594" y="127101"/>
                    <a:pt x="10830" y="131495"/>
                    <a:pt x="11305" y="135866"/>
                  </a:cubicBezTo>
                  <a:cubicBezTo>
                    <a:pt x="10119" y="135707"/>
                    <a:pt x="8912" y="135878"/>
                    <a:pt x="7817" y="136361"/>
                  </a:cubicBezTo>
                  <a:cubicBezTo>
                    <a:pt x="6722" y="136843"/>
                    <a:pt x="5780" y="137617"/>
                    <a:pt x="5096" y="138599"/>
                  </a:cubicBezTo>
                  <a:lnTo>
                    <a:pt x="4050" y="139984"/>
                  </a:lnTo>
                  <a:cubicBezTo>
                    <a:pt x="3307" y="140928"/>
                    <a:pt x="2363" y="142143"/>
                    <a:pt x="1283" y="143594"/>
                  </a:cubicBezTo>
                  <a:cubicBezTo>
                    <a:pt x="253" y="144982"/>
                    <a:pt x="-182" y="146721"/>
                    <a:pt x="70" y="148429"/>
                  </a:cubicBezTo>
                  <a:cubicBezTo>
                    <a:pt x="324" y="150138"/>
                    <a:pt x="1246" y="151676"/>
                    <a:pt x="2632" y="152705"/>
                  </a:cubicBezTo>
                  <a:cubicBezTo>
                    <a:pt x="4019" y="153734"/>
                    <a:pt x="5759" y="154171"/>
                    <a:pt x="7467" y="153918"/>
                  </a:cubicBezTo>
                  <a:cubicBezTo>
                    <a:pt x="9177" y="153664"/>
                    <a:pt x="10714" y="152743"/>
                    <a:pt x="11744" y="151355"/>
                  </a:cubicBezTo>
                  <a:lnTo>
                    <a:pt x="13465" y="149094"/>
                  </a:lnTo>
                  <a:cubicBezTo>
                    <a:pt x="16880" y="164535"/>
                    <a:pt x="23252" y="179167"/>
                    <a:pt x="32227" y="192188"/>
                  </a:cubicBezTo>
                  <a:cubicBezTo>
                    <a:pt x="31264" y="193487"/>
                    <a:pt x="30818" y="195098"/>
                    <a:pt x="30976" y="196707"/>
                  </a:cubicBezTo>
                  <a:cubicBezTo>
                    <a:pt x="31134" y="198316"/>
                    <a:pt x="31886" y="199809"/>
                    <a:pt x="33084" y="200894"/>
                  </a:cubicBezTo>
                  <a:cubicBezTo>
                    <a:pt x="34281" y="201981"/>
                    <a:pt x="35841" y="202582"/>
                    <a:pt x="37458" y="202582"/>
                  </a:cubicBezTo>
                  <a:cubicBezTo>
                    <a:pt x="38018" y="202584"/>
                    <a:pt x="38574" y="202505"/>
                    <a:pt x="39112" y="202345"/>
                  </a:cubicBezTo>
                  <a:lnTo>
                    <a:pt x="39888" y="202143"/>
                  </a:lnTo>
                  <a:lnTo>
                    <a:pt x="39887" y="202143"/>
                  </a:lnTo>
                  <a:cubicBezTo>
                    <a:pt x="59833" y="225623"/>
                    <a:pt x="87890" y="240728"/>
                    <a:pt x="118472" y="244451"/>
                  </a:cubicBezTo>
                  <a:cubicBezTo>
                    <a:pt x="149055" y="248175"/>
                    <a:pt x="179915" y="240241"/>
                    <a:pt x="204909" y="222229"/>
                  </a:cubicBezTo>
                  <a:cubicBezTo>
                    <a:pt x="229904" y="204218"/>
                    <a:pt x="247198" y="177455"/>
                    <a:pt x="253343" y="147266"/>
                  </a:cubicBezTo>
                  <a:cubicBezTo>
                    <a:pt x="259490" y="117078"/>
                    <a:pt x="254040" y="85683"/>
                    <a:pt x="238078" y="59333"/>
                  </a:cubicBezTo>
                  <a:close/>
                  <a:moveTo>
                    <a:pt x="231326" y="42896"/>
                  </a:moveTo>
                  <a:cubicBezTo>
                    <a:pt x="231770" y="42439"/>
                    <a:pt x="232474" y="42355"/>
                    <a:pt x="233014" y="42694"/>
                  </a:cubicBezTo>
                  <a:cubicBezTo>
                    <a:pt x="233014" y="42694"/>
                    <a:pt x="233014" y="42863"/>
                    <a:pt x="233216" y="42896"/>
                  </a:cubicBezTo>
                  <a:cubicBezTo>
                    <a:pt x="233731" y="43421"/>
                    <a:pt x="233731" y="44262"/>
                    <a:pt x="233216" y="44787"/>
                  </a:cubicBezTo>
                  <a:cubicBezTo>
                    <a:pt x="233061" y="44924"/>
                    <a:pt x="232915" y="45070"/>
                    <a:pt x="232777" y="45225"/>
                  </a:cubicBezTo>
                  <a:lnTo>
                    <a:pt x="225050" y="54572"/>
                  </a:lnTo>
                  <a:lnTo>
                    <a:pt x="209527" y="73436"/>
                  </a:lnTo>
                  <a:cubicBezTo>
                    <a:pt x="208608" y="74621"/>
                    <a:pt x="208131" y="76088"/>
                    <a:pt x="208177" y="77587"/>
                  </a:cubicBezTo>
                  <a:cubicBezTo>
                    <a:pt x="208144" y="77901"/>
                    <a:pt x="208144" y="78218"/>
                    <a:pt x="208177" y="78533"/>
                  </a:cubicBezTo>
                  <a:lnTo>
                    <a:pt x="215364" y="127295"/>
                  </a:lnTo>
                  <a:cubicBezTo>
                    <a:pt x="215398" y="127699"/>
                    <a:pt x="215398" y="128106"/>
                    <a:pt x="215364" y="128510"/>
                  </a:cubicBezTo>
                  <a:cubicBezTo>
                    <a:pt x="215361" y="130147"/>
                    <a:pt x="214868" y="131745"/>
                    <a:pt x="213947" y="133099"/>
                  </a:cubicBezTo>
                  <a:lnTo>
                    <a:pt x="196164" y="99354"/>
                  </a:lnTo>
                  <a:cubicBezTo>
                    <a:pt x="195229" y="97587"/>
                    <a:pt x="193538" y="96344"/>
                    <a:pt x="191574" y="95979"/>
                  </a:cubicBezTo>
                  <a:cubicBezTo>
                    <a:pt x="189620" y="95609"/>
                    <a:pt x="187606" y="96156"/>
                    <a:pt x="186107" y="97463"/>
                  </a:cubicBezTo>
                  <a:lnTo>
                    <a:pt x="165860" y="115247"/>
                  </a:lnTo>
                  <a:lnTo>
                    <a:pt x="165860" y="115248"/>
                  </a:lnTo>
                  <a:cubicBezTo>
                    <a:pt x="164632" y="116291"/>
                    <a:pt x="163818" y="117739"/>
                    <a:pt x="163565" y="119331"/>
                  </a:cubicBezTo>
                  <a:lnTo>
                    <a:pt x="163025" y="124292"/>
                  </a:lnTo>
                  <a:lnTo>
                    <a:pt x="163026" y="124292"/>
                  </a:lnTo>
                  <a:cubicBezTo>
                    <a:pt x="162833" y="126115"/>
                    <a:pt x="162024" y="127818"/>
                    <a:pt x="160731" y="129117"/>
                  </a:cubicBezTo>
                  <a:lnTo>
                    <a:pt x="159887" y="122368"/>
                  </a:lnTo>
                  <a:cubicBezTo>
                    <a:pt x="159619" y="120822"/>
                    <a:pt x="158790" y="119428"/>
                    <a:pt x="157559" y="118453"/>
                  </a:cubicBezTo>
                  <a:cubicBezTo>
                    <a:pt x="156507" y="117230"/>
                    <a:pt x="155042" y="116436"/>
                    <a:pt x="153441" y="116227"/>
                  </a:cubicBezTo>
                  <a:lnTo>
                    <a:pt x="146692" y="115383"/>
                  </a:lnTo>
                  <a:cubicBezTo>
                    <a:pt x="148003" y="114111"/>
                    <a:pt x="149702" y="113315"/>
                    <a:pt x="151518" y="113122"/>
                  </a:cubicBezTo>
                  <a:lnTo>
                    <a:pt x="156749" y="112582"/>
                  </a:lnTo>
                  <a:cubicBezTo>
                    <a:pt x="158378" y="112405"/>
                    <a:pt x="159876" y="111607"/>
                    <a:pt x="160933" y="110354"/>
                  </a:cubicBezTo>
                  <a:lnTo>
                    <a:pt x="178684" y="90107"/>
                  </a:lnTo>
                  <a:cubicBezTo>
                    <a:pt x="179759" y="88850"/>
                    <a:pt x="180336" y="87241"/>
                    <a:pt x="180303" y="85585"/>
                  </a:cubicBezTo>
                  <a:cubicBezTo>
                    <a:pt x="180337" y="85181"/>
                    <a:pt x="180337" y="84774"/>
                    <a:pt x="180303" y="84370"/>
                  </a:cubicBezTo>
                  <a:cubicBezTo>
                    <a:pt x="179933" y="82416"/>
                    <a:pt x="178690" y="80739"/>
                    <a:pt x="176928" y="79815"/>
                  </a:cubicBezTo>
                  <a:lnTo>
                    <a:pt x="143182" y="62032"/>
                  </a:lnTo>
                  <a:lnTo>
                    <a:pt x="143182" y="62030"/>
                  </a:lnTo>
                  <a:cubicBezTo>
                    <a:pt x="144881" y="60872"/>
                    <a:pt x="146956" y="60401"/>
                    <a:pt x="148987" y="60714"/>
                  </a:cubicBezTo>
                  <a:lnTo>
                    <a:pt x="197615" y="68038"/>
                  </a:lnTo>
                  <a:cubicBezTo>
                    <a:pt x="199437" y="68312"/>
                    <a:pt x="201290" y="67796"/>
                    <a:pt x="202709" y="66620"/>
                  </a:cubicBezTo>
                  <a:lnTo>
                    <a:pt x="223260" y="49747"/>
                  </a:lnTo>
                  <a:lnTo>
                    <a:pt x="230920" y="43436"/>
                  </a:lnTo>
                  <a:close/>
                  <a:moveTo>
                    <a:pt x="133194" y="232311"/>
                  </a:moveTo>
                  <a:cubicBezTo>
                    <a:pt x="118270" y="232314"/>
                    <a:pt x="103503" y="229259"/>
                    <a:pt x="89805" y="223333"/>
                  </a:cubicBezTo>
                  <a:cubicBezTo>
                    <a:pt x="76108" y="217408"/>
                    <a:pt x="63771" y="208736"/>
                    <a:pt x="53554" y="197855"/>
                  </a:cubicBezTo>
                  <a:cubicBezTo>
                    <a:pt x="55550" y="196873"/>
                    <a:pt x="56905" y="194939"/>
                    <a:pt x="57149" y="192728"/>
                  </a:cubicBezTo>
                  <a:cubicBezTo>
                    <a:pt x="57393" y="190518"/>
                    <a:pt x="56492" y="188335"/>
                    <a:pt x="54759" y="186940"/>
                  </a:cubicBezTo>
                  <a:cubicBezTo>
                    <a:pt x="53026" y="185545"/>
                    <a:pt x="50701" y="185132"/>
                    <a:pt x="48593" y="185843"/>
                  </a:cubicBezTo>
                  <a:lnTo>
                    <a:pt x="44645" y="187158"/>
                  </a:lnTo>
                  <a:cubicBezTo>
                    <a:pt x="28445" y="164982"/>
                    <a:pt x="21166" y="137530"/>
                    <a:pt x="24251" y="110238"/>
                  </a:cubicBezTo>
                  <a:cubicBezTo>
                    <a:pt x="27337" y="82948"/>
                    <a:pt x="40561" y="57811"/>
                    <a:pt x="61304" y="39813"/>
                  </a:cubicBezTo>
                  <a:cubicBezTo>
                    <a:pt x="82047" y="21813"/>
                    <a:pt x="108796" y="12262"/>
                    <a:pt x="136248" y="13052"/>
                  </a:cubicBezTo>
                  <a:cubicBezTo>
                    <a:pt x="163700" y="13842"/>
                    <a:pt x="189853" y="24915"/>
                    <a:pt x="209529" y="44075"/>
                  </a:cubicBezTo>
                  <a:lnTo>
                    <a:pt x="196639" y="54706"/>
                  </a:lnTo>
                  <a:lnTo>
                    <a:pt x="150812" y="47956"/>
                  </a:lnTo>
                  <a:cubicBezTo>
                    <a:pt x="146644" y="47334"/>
                    <a:pt x="142384" y="47963"/>
                    <a:pt x="138576" y="49766"/>
                  </a:cubicBezTo>
                  <a:cubicBezTo>
                    <a:pt x="134766" y="51568"/>
                    <a:pt x="131578" y="54463"/>
                    <a:pt x="129418" y="58080"/>
                  </a:cubicBezTo>
                  <a:lnTo>
                    <a:pt x="127663" y="61050"/>
                  </a:lnTo>
                  <a:lnTo>
                    <a:pt x="127662" y="61051"/>
                  </a:lnTo>
                  <a:cubicBezTo>
                    <a:pt x="127044" y="62067"/>
                    <a:pt x="126717" y="63235"/>
                    <a:pt x="126717" y="64425"/>
                  </a:cubicBezTo>
                  <a:cubicBezTo>
                    <a:pt x="126722" y="65019"/>
                    <a:pt x="126813" y="65611"/>
                    <a:pt x="126988" y="66179"/>
                  </a:cubicBezTo>
                  <a:cubicBezTo>
                    <a:pt x="127500" y="67932"/>
                    <a:pt x="128724" y="69389"/>
                    <a:pt x="130362" y="70195"/>
                  </a:cubicBezTo>
                  <a:lnTo>
                    <a:pt x="163635" y="87710"/>
                  </a:lnTo>
                  <a:lnTo>
                    <a:pt x="152938" y="99959"/>
                  </a:lnTo>
                  <a:lnTo>
                    <a:pt x="150509" y="100229"/>
                  </a:lnTo>
                  <a:lnTo>
                    <a:pt x="150509" y="100228"/>
                  </a:lnTo>
                  <a:cubicBezTo>
                    <a:pt x="146359" y="100691"/>
                    <a:pt x="142437" y="102365"/>
                    <a:pt x="139231" y="105041"/>
                  </a:cubicBezTo>
                  <a:cubicBezTo>
                    <a:pt x="136027" y="107718"/>
                    <a:pt x="133682" y="111278"/>
                    <a:pt x="132488" y="115280"/>
                  </a:cubicBezTo>
                  <a:lnTo>
                    <a:pt x="131374" y="118957"/>
                  </a:lnTo>
                  <a:cubicBezTo>
                    <a:pt x="131198" y="119561"/>
                    <a:pt x="131107" y="120186"/>
                    <a:pt x="131105" y="120814"/>
                  </a:cubicBezTo>
                  <a:cubicBezTo>
                    <a:pt x="131107" y="122401"/>
                    <a:pt x="131688" y="123934"/>
                    <a:pt x="132737" y="125127"/>
                  </a:cubicBezTo>
                  <a:cubicBezTo>
                    <a:pt x="133786" y="126319"/>
                    <a:pt x="135233" y="127088"/>
                    <a:pt x="136807" y="127293"/>
                  </a:cubicBezTo>
                  <a:lnTo>
                    <a:pt x="147708" y="128677"/>
                  </a:lnTo>
                  <a:lnTo>
                    <a:pt x="148923" y="139576"/>
                  </a:lnTo>
                  <a:cubicBezTo>
                    <a:pt x="149170" y="141473"/>
                    <a:pt x="150236" y="143167"/>
                    <a:pt x="151839" y="144212"/>
                  </a:cubicBezTo>
                  <a:cubicBezTo>
                    <a:pt x="153442" y="145257"/>
                    <a:pt x="155421" y="145548"/>
                    <a:pt x="157258" y="145009"/>
                  </a:cubicBezTo>
                  <a:lnTo>
                    <a:pt x="160936" y="143829"/>
                  </a:lnTo>
                  <a:cubicBezTo>
                    <a:pt x="164942" y="142632"/>
                    <a:pt x="168506" y="140282"/>
                    <a:pt x="171183" y="137071"/>
                  </a:cubicBezTo>
                  <a:cubicBezTo>
                    <a:pt x="173860" y="133860"/>
                    <a:pt x="175531" y="129930"/>
                    <a:pt x="175986" y="125775"/>
                  </a:cubicBezTo>
                  <a:lnTo>
                    <a:pt x="176257" y="123345"/>
                  </a:lnTo>
                  <a:lnTo>
                    <a:pt x="188506" y="112580"/>
                  </a:lnTo>
                  <a:lnTo>
                    <a:pt x="206020" y="145853"/>
                  </a:lnTo>
                  <a:cubicBezTo>
                    <a:pt x="206806" y="147494"/>
                    <a:pt x="208255" y="148722"/>
                    <a:pt x="210002" y="149228"/>
                  </a:cubicBezTo>
                  <a:cubicBezTo>
                    <a:pt x="211731" y="149721"/>
                    <a:pt x="213588" y="149476"/>
                    <a:pt x="215131" y="148553"/>
                  </a:cubicBezTo>
                  <a:lnTo>
                    <a:pt x="218067" y="146765"/>
                  </a:lnTo>
                  <a:lnTo>
                    <a:pt x="218067" y="146764"/>
                  </a:lnTo>
                  <a:cubicBezTo>
                    <a:pt x="224509" y="142941"/>
                    <a:pt x="228449" y="135997"/>
                    <a:pt x="228427" y="128508"/>
                  </a:cubicBezTo>
                  <a:cubicBezTo>
                    <a:pt x="228433" y="127457"/>
                    <a:pt x="228354" y="126407"/>
                    <a:pt x="228191" y="125369"/>
                  </a:cubicBezTo>
                  <a:lnTo>
                    <a:pt x="221442" y="79509"/>
                  </a:lnTo>
                  <a:lnTo>
                    <a:pt x="229338" y="69959"/>
                  </a:lnTo>
                  <a:cubicBezTo>
                    <a:pt x="241599" y="92317"/>
                    <a:pt x="245679" y="118252"/>
                    <a:pt x="240882" y="143297"/>
                  </a:cubicBezTo>
                  <a:cubicBezTo>
                    <a:pt x="236084" y="168341"/>
                    <a:pt x="222708" y="190929"/>
                    <a:pt x="203054" y="207177"/>
                  </a:cubicBezTo>
                  <a:cubicBezTo>
                    <a:pt x="183399" y="223424"/>
                    <a:pt x="158698" y="232311"/>
                    <a:pt x="133198" y="232311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03FC93BC-04CB-0980-3092-CC5E68E97C9B}"/>
                </a:ext>
              </a:extLst>
            </p:cNvPr>
            <p:cNvSpPr/>
            <p:nvPr/>
          </p:nvSpPr>
          <p:spPr>
            <a:xfrm>
              <a:off x="352870" y="3974194"/>
              <a:ext cx="17824" cy="17465"/>
            </a:xfrm>
            <a:custGeom>
              <a:avLst/>
              <a:gdLst>
                <a:gd name="connsiteX0" fmla="*/ 6770 w 17824"/>
                <a:gd name="connsiteY0" fmla="*/ 1842 h 17465"/>
                <a:gd name="connsiteX1" fmla="*/ 2215 w 17824"/>
                <a:gd name="connsiteY1" fmla="*/ 6060 h 17465"/>
                <a:gd name="connsiteX2" fmla="*/ 6 w 17824"/>
                <a:gd name="connsiteY2" fmla="*/ 10679 h 17465"/>
                <a:gd name="connsiteX3" fmla="*/ 1819 w 17824"/>
                <a:gd name="connsiteY3" fmla="*/ 15467 h 17465"/>
                <a:gd name="connsiteX4" fmla="*/ 6534 w 17824"/>
                <a:gd name="connsiteY4" fmla="*/ 17465 h 17465"/>
                <a:gd name="connsiteX5" fmla="*/ 10853 w 17824"/>
                <a:gd name="connsiteY5" fmla="*/ 15812 h 17465"/>
                <a:gd name="connsiteX6" fmla="*/ 15848 w 17824"/>
                <a:gd name="connsiteY6" fmla="*/ 11189 h 17465"/>
                <a:gd name="connsiteX7" fmla="*/ 17627 w 17824"/>
                <a:gd name="connsiteY7" fmla="*/ 4921 h 17465"/>
                <a:gd name="connsiteX8" fmla="*/ 13088 w 17824"/>
                <a:gd name="connsiteY8" fmla="*/ 248 h 17465"/>
                <a:gd name="connsiteX9" fmla="*/ 6770 w 17824"/>
                <a:gd name="connsiteY9" fmla="*/ 1842 h 17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824" h="17465">
                  <a:moveTo>
                    <a:pt x="6770" y="1842"/>
                  </a:moveTo>
                  <a:cubicBezTo>
                    <a:pt x="5353" y="3226"/>
                    <a:pt x="3834" y="4643"/>
                    <a:pt x="2215" y="6060"/>
                  </a:cubicBezTo>
                  <a:cubicBezTo>
                    <a:pt x="879" y="7233"/>
                    <a:pt x="80" y="8902"/>
                    <a:pt x="6" y="10679"/>
                  </a:cubicBezTo>
                  <a:cubicBezTo>
                    <a:pt x="-69" y="12457"/>
                    <a:pt x="587" y="14187"/>
                    <a:pt x="1819" y="15467"/>
                  </a:cubicBezTo>
                  <a:cubicBezTo>
                    <a:pt x="3053" y="16749"/>
                    <a:pt x="4755" y="17471"/>
                    <a:pt x="6534" y="17465"/>
                  </a:cubicBezTo>
                  <a:cubicBezTo>
                    <a:pt x="8130" y="17471"/>
                    <a:pt x="9670" y="16881"/>
                    <a:pt x="10853" y="15812"/>
                  </a:cubicBezTo>
                  <a:cubicBezTo>
                    <a:pt x="12608" y="14260"/>
                    <a:pt x="14228" y="12708"/>
                    <a:pt x="15848" y="11189"/>
                  </a:cubicBezTo>
                  <a:cubicBezTo>
                    <a:pt x="17518" y="9567"/>
                    <a:pt x="18196" y="7178"/>
                    <a:pt x="17627" y="4921"/>
                  </a:cubicBezTo>
                  <a:cubicBezTo>
                    <a:pt x="17057" y="2664"/>
                    <a:pt x="15326" y="883"/>
                    <a:pt x="13088" y="248"/>
                  </a:cubicBezTo>
                  <a:cubicBezTo>
                    <a:pt x="10848" y="-388"/>
                    <a:pt x="8440" y="219"/>
                    <a:pt x="6770" y="1842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1AF68A5E-67EE-4EA2-1D03-DE34B6773140}"/>
                </a:ext>
              </a:extLst>
            </p:cNvPr>
            <p:cNvSpPr/>
            <p:nvPr/>
          </p:nvSpPr>
          <p:spPr>
            <a:xfrm>
              <a:off x="213314" y="4000635"/>
              <a:ext cx="16574" cy="26187"/>
            </a:xfrm>
            <a:custGeom>
              <a:avLst/>
              <a:gdLst>
                <a:gd name="connsiteX0" fmla="*/ 13030 w 16574"/>
                <a:gd name="connsiteY0" fmla="*/ 20181 h 26187"/>
                <a:gd name="connsiteX1" fmla="*/ 16034 w 16574"/>
                <a:gd name="connsiteY1" fmla="*/ 9112 h 26187"/>
                <a:gd name="connsiteX2" fmla="*/ 15298 w 16574"/>
                <a:gd name="connsiteY2" fmla="*/ 2640 h 26187"/>
                <a:gd name="connsiteX3" fmla="*/ 9325 w 16574"/>
                <a:gd name="connsiteY3" fmla="*/ 42 h 26187"/>
                <a:gd name="connsiteX4" fmla="*/ 4088 w 16574"/>
                <a:gd name="connsiteY4" fmla="*/ 3915 h 26187"/>
                <a:gd name="connsiteX5" fmla="*/ 5 w 16574"/>
                <a:gd name="connsiteY5" fmla="*/ 19438 h 26187"/>
                <a:gd name="connsiteX6" fmla="*/ 1696 w 16574"/>
                <a:gd name="connsiteY6" fmla="*/ 24068 h 26187"/>
                <a:gd name="connsiteX7" fmla="*/ 6146 w 16574"/>
                <a:gd name="connsiteY7" fmla="*/ 26187 h 26187"/>
                <a:gd name="connsiteX8" fmla="*/ 6517 w 16574"/>
                <a:gd name="connsiteY8" fmla="*/ 26187 h 26187"/>
                <a:gd name="connsiteX9" fmla="*/ 10944 w 16574"/>
                <a:gd name="connsiteY9" fmla="*/ 24453 h 26187"/>
                <a:gd name="connsiteX10" fmla="*/ 13030 w 16574"/>
                <a:gd name="connsiteY10" fmla="*/ 20181 h 26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574" h="26187">
                  <a:moveTo>
                    <a:pt x="13030" y="20181"/>
                  </a:moveTo>
                  <a:cubicBezTo>
                    <a:pt x="13373" y="16343"/>
                    <a:pt x="14389" y="12595"/>
                    <a:pt x="16034" y="9112"/>
                  </a:cubicBezTo>
                  <a:cubicBezTo>
                    <a:pt x="16962" y="6978"/>
                    <a:pt x="16682" y="4511"/>
                    <a:pt x="15298" y="2640"/>
                  </a:cubicBezTo>
                  <a:cubicBezTo>
                    <a:pt x="13914" y="769"/>
                    <a:pt x="11638" y="-222"/>
                    <a:pt x="9325" y="42"/>
                  </a:cubicBezTo>
                  <a:cubicBezTo>
                    <a:pt x="7013" y="304"/>
                    <a:pt x="5017" y="1781"/>
                    <a:pt x="4088" y="3915"/>
                  </a:cubicBezTo>
                  <a:cubicBezTo>
                    <a:pt x="1824" y="8809"/>
                    <a:pt x="442" y="14064"/>
                    <a:pt x="5" y="19438"/>
                  </a:cubicBezTo>
                  <a:cubicBezTo>
                    <a:pt x="-59" y="21144"/>
                    <a:pt x="547" y="22806"/>
                    <a:pt x="1696" y="24068"/>
                  </a:cubicBezTo>
                  <a:cubicBezTo>
                    <a:pt x="2845" y="25330"/>
                    <a:pt x="4442" y="26091"/>
                    <a:pt x="6146" y="26187"/>
                  </a:cubicBezTo>
                  <a:lnTo>
                    <a:pt x="6517" y="26187"/>
                  </a:lnTo>
                  <a:cubicBezTo>
                    <a:pt x="8159" y="26185"/>
                    <a:pt x="9738" y="25565"/>
                    <a:pt x="10944" y="24453"/>
                  </a:cubicBezTo>
                  <a:cubicBezTo>
                    <a:pt x="12150" y="23341"/>
                    <a:pt x="12895" y="21816"/>
                    <a:pt x="13030" y="20181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5B7E4D5A-8D2F-5D67-A1F7-48DBFDF5B9A6}"/>
                </a:ext>
              </a:extLst>
            </p:cNvPr>
            <p:cNvSpPr/>
            <p:nvPr/>
          </p:nvSpPr>
          <p:spPr>
            <a:xfrm>
              <a:off x="223642" y="4031599"/>
              <a:ext cx="26847" cy="15244"/>
            </a:xfrm>
            <a:custGeom>
              <a:avLst/>
              <a:gdLst>
                <a:gd name="connsiteX0" fmla="*/ 20148 w 26847"/>
                <a:gd name="connsiteY0" fmla="*/ 2175 h 15244"/>
                <a:gd name="connsiteX1" fmla="*/ 19271 w 26847"/>
                <a:gd name="connsiteY1" fmla="*/ 2175 h 15244"/>
                <a:gd name="connsiteX2" fmla="*/ 9147 w 26847"/>
                <a:gd name="connsiteY2" fmla="*/ 556 h 15244"/>
                <a:gd name="connsiteX3" fmla="*/ 4103 w 26847"/>
                <a:gd name="connsiteY3" fmla="*/ 462 h 15244"/>
                <a:gd name="connsiteX4" fmla="*/ 505 w 26847"/>
                <a:gd name="connsiteY4" fmla="*/ 3998 h 15244"/>
                <a:gd name="connsiteX5" fmla="*/ 512 w 26847"/>
                <a:gd name="connsiteY5" fmla="*/ 9043 h 15244"/>
                <a:gd name="connsiteX6" fmla="*/ 4119 w 26847"/>
                <a:gd name="connsiteY6" fmla="*/ 12569 h 15244"/>
                <a:gd name="connsiteX7" fmla="*/ 19202 w 26847"/>
                <a:gd name="connsiteY7" fmla="*/ 15235 h 15244"/>
                <a:gd name="connsiteX8" fmla="*/ 20452 w 26847"/>
                <a:gd name="connsiteY8" fmla="*/ 15235 h 15244"/>
                <a:gd name="connsiteX9" fmla="*/ 26033 w 26847"/>
                <a:gd name="connsiteY9" fmla="*/ 11877 h 15244"/>
                <a:gd name="connsiteX10" fmla="*/ 25914 w 26847"/>
                <a:gd name="connsiteY10" fmla="*/ 5364 h 15244"/>
                <a:gd name="connsiteX11" fmla="*/ 20215 w 26847"/>
                <a:gd name="connsiteY11" fmla="*/ 2210 h 15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847" h="15244">
                  <a:moveTo>
                    <a:pt x="20148" y="2175"/>
                  </a:moveTo>
                  <a:lnTo>
                    <a:pt x="19271" y="2175"/>
                  </a:lnTo>
                  <a:cubicBezTo>
                    <a:pt x="15823" y="2299"/>
                    <a:pt x="12384" y="1748"/>
                    <a:pt x="9147" y="556"/>
                  </a:cubicBezTo>
                  <a:cubicBezTo>
                    <a:pt x="7546" y="-151"/>
                    <a:pt x="5729" y="-185"/>
                    <a:pt x="4103" y="462"/>
                  </a:cubicBezTo>
                  <a:cubicBezTo>
                    <a:pt x="2477" y="1110"/>
                    <a:pt x="1181" y="2384"/>
                    <a:pt x="505" y="3998"/>
                  </a:cubicBezTo>
                  <a:cubicBezTo>
                    <a:pt x="-170" y="5612"/>
                    <a:pt x="-168" y="7431"/>
                    <a:pt x="512" y="9043"/>
                  </a:cubicBezTo>
                  <a:cubicBezTo>
                    <a:pt x="1192" y="10656"/>
                    <a:pt x="2491" y="11927"/>
                    <a:pt x="4119" y="12569"/>
                  </a:cubicBezTo>
                  <a:cubicBezTo>
                    <a:pt x="8922" y="14443"/>
                    <a:pt x="14048" y="15348"/>
                    <a:pt x="19202" y="15235"/>
                  </a:cubicBezTo>
                  <a:lnTo>
                    <a:pt x="20452" y="15235"/>
                  </a:lnTo>
                  <a:cubicBezTo>
                    <a:pt x="22778" y="15193"/>
                    <a:pt x="24906" y="13913"/>
                    <a:pt x="26033" y="11877"/>
                  </a:cubicBezTo>
                  <a:cubicBezTo>
                    <a:pt x="27160" y="9841"/>
                    <a:pt x="27115" y="7358"/>
                    <a:pt x="25914" y="5364"/>
                  </a:cubicBezTo>
                  <a:cubicBezTo>
                    <a:pt x="24715" y="3370"/>
                    <a:pt x="22542" y="2168"/>
                    <a:pt x="20215" y="2210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84D534C1-C08D-8482-5553-63055A24B8F9}"/>
                </a:ext>
              </a:extLst>
            </p:cNvPr>
            <p:cNvSpPr/>
            <p:nvPr/>
          </p:nvSpPr>
          <p:spPr>
            <a:xfrm>
              <a:off x="292951" y="4011633"/>
              <a:ext cx="25304" cy="19415"/>
            </a:xfrm>
            <a:custGeom>
              <a:avLst/>
              <a:gdLst>
                <a:gd name="connsiteX0" fmla="*/ 15632 w 25304"/>
                <a:gd name="connsiteY0" fmla="*/ 814 h 19415"/>
                <a:gd name="connsiteX1" fmla="*/ 3686 w 25304"/>
                <a:gd name="connsiteY1" fmla="*/ 7023 h 19415"/>
                <a:gd name="connsiteX2" fmla="*/ 3686 w 25304"/>
                <a:gd name="connsiteY2" fmla="*/ 7024 h 19415"/>
                <a:gd name="connsiteX3" fmla="*/ 18 w 25304"/>
                <a:gd name="connsiteY3" fmla="*/ 12414 h 19415"/>
                <a:gd name="connsiteX4" fmla="*/ 2853 w 25304"/>
                <a:gd name="connsiteY4" fmla="*/ 18287 h 19415"/>
                <a:gd name="connsiteX5" fmla="*/ 9355 w 25304"/>
                <a:gd name="connsiteY5" fmla="*/ 18767 h 19415"/>
                <a:gd name="connsiteX6" fmla="*/ 21943 w 25304"/>
                <a:gd name="connsiteY6" fmla="*/ 12220 h 19415"/>
                <a:gd name="connsiteX7" fmla="*/ 21943 w 25304"/>
                <a:gd name="connsiteY7" fmla="*/ 12221 h 19415"/>
                <a:gd name="connsiteX8" fmla="*/ 25304 w 25304"/>
                <a:gd name="connsiteY8" fmla="*/ 6636 h 19415"/>
                <a:gd name="connsiteX9" fmla="*/ 22148 w 25304"/>
                <a:gd name="connsiteY9" fmla="*/ 934 h 19415"/>
                <a:gd name="connsiteX10" fmla="*/ 15632 w 25304"/>
                <a:gd name="connsiteY10" fmla="*/ 814 h 19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304" h="19415">
                  <a:moveTo>
                    <a:pt x="15632" y="814"/>
                  </a:moveTo>
                  <a:cubicBezTo>
                    <a:pt x="11548" y="3075"/>
                    <a:pt x="7532" y="5167"/>
                    <a:pt x="3686" y="7023"/>
                  </a:cubicBezTo>
                  <a:lnTo>
                    <a:pt x="3686" y="7024"/>
                  </a:lnTo>
                  <a:cubicBezTo>
                    <a:pt x="1587" y="8037"/>
                    <a:pt x="190" y="10092"/>
                    <a:pt x="18" y="12414"/>
                  </a:cubicBezTo>
                  <a:cubicBezTo>
                    <a:pt x="-154" y="14737"/>
                    <a:pt x="926" y="16976"/>
                    <a:pt x="2853" y="18287"/>
                  </a:cubicBezTo>
                  <a:cubicBezTo>
                    <a:pt x="4779" y="19596"/>
                    <a:pt x="7257" y="19780"/>
                    <a:pt x="9355" y="18767"/>
                  </a:cubicBezTo>
                  <a:cubicBezTo>
                    <a:pt x="13404" y="16809"/>
                    <a:pt x="17622" y="14615"/>
                    <a:pt x="21943" y="12220"/>
                  </a:cubicBezTo>
                  <a:lnTo>
                    <a:pt x="21943" y="12221"/>
                  </a:lnTo>
                  <a:cubicBezTo>
                    <a:pt x="23979" y="11094"/>
                    <a:pt x="25261" y="8965"/>
                    <a:pt x="25304" y="6636"/>
                  </a:cubicBezTo>
                  <a:cubicBezTo>
                    <a:pt x="25346" y="4309"/>
                    <a:pt x="24143" y="2134"/>
                    <a:pt x="22148" y="934"/>
                  </a:cubicBezTo>
                  <a:cubicBezTo>
                    <a:pt x="20153" y="-267"/>
                    <a:pt x="17669" y="-313"/>
                    <a:pt x="15632" y="814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A63CDBEB-7261-AB80-0397-F1A488A0FD46}"/>
                </a:ext>
              </a:extLst>
            </p:cNvPr>
            <p:cNvSpPr/>
            <p:nvPr/>
          </p:nvSpPr>
          <p:spPr>
            <a:xfrm>
              <a:off x="324326" y="3992383"/>
              <a:ext cx="24279" cy="20744"/>
            </a:xfrm>
            <a:custGeom>
              <a:avLst/>
              <a:gdLst>
                <a:gd name="connsiteX0" fmla="*/ 13953 w 24279"/>
                <a:gd name="connsiteY0" fmla="*/ 1233 h 20744"/>
                <a:gd name="connsiteX1" fmla="*/ 2783 w 24279"/>
                <a:gd name="connsiteY1" fmla="*/ 8893 h 20744"/>
                <a:gd name="connsiteX2" fmla="*/ 2782 w 24279"/>
                <a:gd name="connsiteY2" fmla="*/ 8893 h 20744"/>
                <a:gd name="connsiteX3" fmla="*/ 14 w 24279"/>
                <a:gd name="connsiteY3" fmla="*/ 14658 h 20744"/>
                <a:gd name="connsiteX4" fmla="*/ 3512 w 24279"/>
                <a:gd name="connsiteY4" fmla="*/ 20012 h 20744"/>
                <a:gd name="connsiteX5" fmla="*/ 9903 w 24279"/>
                <a:gd name="connsiteY5" fmla="*/ 19793 h 20744"/>
                <a:gd name="connsiteX6" fmla="*/ 21579 w 24279"/>
                <a:gd name="connsiteY6" fmla="*/ 11795 h 20744"/>
                <a:gd name="connsiteX7" fmla="*/ 24246 w 24279"/>
                <a:gd name="connsiteY7" fmla="*/ 5852 h 20744"/>
                <a:gd name="connsiteX8" fmla="*/ 20433 w 24279"/>
                <a:gd name="connsiteY8" fmla="*/ 571 h 20744"/>
                <a:gd name="connsiteX9" fmla="*/ 13953 w 24279"/>
                <a:gd name="connsiteY9" fmla="*/ 1233 h 20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79" h="20744">
                  <a:moveTo>
                    <a:pt x="13953" y="1233"/>
                  </a:moveTo>
                  <a:cubicBezTo>
                    <a:pt x="10376" y="3798"/>
                    <a:pt x="6630" y="6362"/>
                    <a:pt x="2783" y="8893"/>
                  </a:cubicBezTo>
                  <a:lnTo>
                    <a:pt x="2782" y="8893"/>
                  </a:lnTo>
                  <a:cubicBezTo>
                    <a:pt x="915" y="10198"/>
                    <a:pt x="-134" y="12384"/>
                    <a:pt x="14" y="14658"/>
                  </a:cubicBezTo>
                  <a:cubicBezTo>
                    <a:pt x="163" y="16932"/>
                    <a:pt x="1489" y="18962"/>
                    <a:pt x="3512" y="20012"/>
                  </a:cubicBezTo>
                  <a:cubicBezTo>
                    <a:pt x="5534" y="21062"/>
                    <a:pt x="7957" y="20979"/>
                    <a:pt x="9903" y="19793"/>
                  </a:cubicBezTo>
                  <a:cubicBezTo>
                    <a:pt x="13919" y="17161"/>
                    <a:pt x="17833" y="14495"/>
                    <a:pt x="21579" y="11795"/>
                  </a:cubicBezTo>
                  <a:cubicBezTo>
                    <a:pt x="23466" y="10433"/>
                    <a:pt x="24482" y="8168"/>
                    <a:pt x="24246" y="5852"/>
                  </a:cubicBezTo>
                  <a:cubicBezTo>
                    <a:pt x="24010" y="3537"/>
                    <a:pt x="22557" y="1524"/>
                    <a:pt x="20433" y="571"/>
                  </a:cubicBezTo>
                  <a:cubicBezTo>
                    <a:pt x="18310" y="-381"/>
                    <a:pt x="15839" y="-130"/>
                    <a:pt x="13953" y="1233"/>
                  </a:cubicBezTo>
                  <a:close/>
                </a:path>
              </a:pathLst>
            </a:custGeom>
            <a:grpFill/>
            <a:ln w="2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sp>
        <p:nvSpPr>
          <p:cNvPr id="59" name="Graphique 27">
            <a:extLst>
              <a:ext uri="{FF2B5EF4-FFF2-40B4-BE49-F238E27FC236}">
                <a16:creationId xmlns:a16="http://schemas.microsoft.com/office/drawing/2014/main" id="{A4BDADF6-678C-7A07-E861-E282F433FF04}"/>
              </a:ext>
            </a:extLst>
          </p:cNvPr>
          <p:cNvSpPr/>
          <p:nvPr/>
        </p:nvSpPr>
        <p:spPr>
          <a:xfrm>
            <a:off x="6540164" y="4831171"/>
            <a:ext cx="237110" cy="223938"/>
          </a:xfrm>
          <a:custGeom>
            <a:avLst/>
            <a:gdLst>
              <a:gd name="connsiteX0" fmla="*/ 1529608 w 3239136"/>
              <a:gd name="connsiteY0" fmla="*/ 0 h 3059199"/>
              <a:gd name="connsiteX1" fmla="*/ 1079729 w 3239136"/>
              <a:gd name="connsiteY1" fmla="*/ 449879 h 3059199"/>
              <a:gd name="connsiteX2" fmla="*/ 1079729 w 3239136"/>
              <a:gd name="connsiteY2" fmla="*/ 539868 h 3059199"/>
              <a:gd name="connsiteX3" fmla="*/ 449879 w 3239136"/>
              <a:gd name="connsiteY3" fmla="*/ 539868 h 3059199"/>
              <a:gd name="connsiteX4" fmla="*/ 0 w 3239136"/>
              <a:gd name="connsiteY4" fmla="*/ 989747 h 3059199"/>
              <a:gd name="connsiteX5" fmla="*/ 0 w 3239136"/>
              <a:gd name="connsiteY5" fmla="*/ 2609321 h 3059199"/>
              <a:gd name="connsiteX6" fmla="*/ 449879 w 3239136"/>
              <a:gd name="connsiteY6" fmla="*/ 3059200 h 3059199"/>
              <a:gd name="connsiteX7" fmla="*/ 2789257 w 3239136"/>
              <a:gd name="connsiteY7" fmla="*/ 3059200 h 3059199"/>
              <a:gd name="connsiteX8" fmla="*/ 3239136 w 3239136"/>
              <a:gd name="connsiteY8" fmla="*/ 2609321 h 3059199"/>
              <a:gd name="connsiteX9" fmla="*/ 3239136 w 3239136"/>
              <a:gd name="connsiteY9" fmla="*/ 989747 h 3059199"/>
              <a:gd name="connsiteX10" fmla="*/ 2789280 w 3239136"/>
              <a:gd name="connsiteY10" fmla="*/ 539868 h 3059199"/>
              <a:gd name="connsiteX11" fmla="*/ 2159430 w 3239136"/>
              <a:gd name="connsiteY11" fmla="*/ 539868 h 3059199"/>
              <a:gd name="connsiteX12" fmla="*/ 2159430 w 3239136"/>
              <a:gd name="connsiteY12" fmla="*/ 449879 h 3059199"/>
              <a:gd name="connsiteX13" fmla="*/ 1709551 w 3239136"/>
              <a:gd name="connsiteY13" fmla="*/ 0 h 3059199"/>
              <a:gd name="connsiteX14" fmla="*/ 1529608 w 3239136"/>
              <a:gd name="connsiteY14" fmla="*/ 179954 h 3059199"/>
              <a:gd name="connsiteX15" fmla="*/ 1709562 w 3239136"/>
              <a:gd name="connsiteY15" fmla="*/ 179954 h 3059199"/>
              <a:gd name="connsiteX16" fmla="*/ 1979482 w 3239136"/>
              <a:gd name="connsiteY16" fmla="*/ 449873 h 3059199"/>
              <a:gd name="connsiteX17" fmla="*/ 1979482 w 3239136"/>
              <a:gd name="connsiteY17" fmla="*/ 539862 h 3059199"/>
              <a:gd name="connsiteX18" fmla="*/ 1259678 w 3239136"/>
              <a:gd name="connsiteY18" fmla="*/ 539862 h 3059199"/>
              <a:gd name="connsiteX19" fmla="*/ 1259678 w 3239136"/>
              <a:gd name="connsiteY19" fmla="*/ 449873 h 3059199"/>
              <a:gd name="connsiteX20" fmla="*/ 1529597 w 3239136"/>
              <a:gd name="connsiteY20" fmla="*/ 179954 h 3059199"/>
              <a:gd name="connsiteX21" fmla="*/ 449873 w 3239136"/>
              <a:gd name="connsiteY21" fmla="*/ 719821 h 3059199"/>
              <a:gd name="connsiteX22" fmla="*/ 719816 w 3239136"/>
              <a:gd name="connsiteY22" fmla="*/ 719821 h 3059199"/>
              <a:gd name="connsiteX23" fmla="*/ 719816 w 3239136"/>
              <a:gd name="connsiteY23" fmla="*/ 2879291 h 3059199"/>
              <a:gd name="connsiteX24" fmla="*/ 899770 w 3239136"/>
              <a:gd name="connsiteY24" fmla="*/ 2879291 h 3059199"/>
              <a:gd name="connsiteX25" fmla="*/ 899770 w 3239136"/>
              <a:gd name="connsiteY25" fmla="*/ 719821 h 3059199"/>
              <a:gd name="connsiteX26" fmla="*/ 2339435 w 3239136"/>
              <a:gd name="connsiteY26" fmla="*/ 719821 h 3059199"/>
              <a:gd name="connsiteX27" fmla="*/ 2339435 w 3239136"/>
              <a:gd name="connsiteY27" fmla="*/ 2879291 h 3059199"/>
              <a:gd name="connsiteX28" fmla="*/ 2519389 w 3239136"/>
              <a:gd name="connsiteY28" fmla="*/ 2879291 h 3059199"/>
              <a:gd name="connsiteX29" fmla="*/ 2519367 w 3239136"/>
              <a:gd name="connsiteY29" fmla="*/ 719821 h 3059199"/>
              <a:gd name="connsiteX30" fmla="*/ 2789286 w 3239136"/>
              <a:gd name="connsiteY30" fmla="*/ 719821 h 3059199"/>
              <a:gd name="connsiteX31" fmla="*/ 3059229 w 3239136"/>
              <a:gd name="connsiteY31" fmla="*/ 989741 h 3059199"/>
              <a:gd name="connsiteX32" fmla="*/ 3059229 w 3239136"/>
              <a:gd name="connsiteY32" fmla="*/ 2609315 h 3059199"/>
              <a:gd name="connsiteX33" fmla="*/ 2789309 w 3239136"/>
              <a:gd name="connsiteY33" fmla="*/ 2879594 h 3059199"/>
              <a:gd name="connsiteX34" fmla="*/ 449874 w 3239136"/>
              <a:gd name="connsiteY34" fmla="*/ 2879594 h 3059199"/>
              <a:gd name="connsiteX35" fmla="*/ 179954 w 3239136"/>
              <a:gd name="connsiteY35" fmla="*/ 2609315 h 3059199"/>
              <a:gd name="connsiteX36" fmla="*/ 179954 w 3239136"/>
              <a:gd name="connsiteY36" fmla="*/ 989741 h 3059199"/>
              <a:gd name="connsiteX37" fmla="*/ 449874 w 3239136"/>
              <a:gd name="connsiteY37" fmla="*/ 719821 h 30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3239136" h="3059199">
                <a:moveTo>
                  <a:pt x="1529608" y="0"/>
                </a:moveTo>
                <a:cubicBezTo>
                  <a:pt x="1281920" y="0"/>
                  <a:pt x="1079729" y="202214"/>
                  <a:pt x="1079729" y="449879"/>
                </a:cubicBezTo>
                <a:lnTo>
                  <a:pt x="1079729" y="539868"/>
                </a:lnTo>
                <a:lnTo>
                  <a:pt x="449879" y="539868"/>
                </a:lnTo>
                <a:cubicBezTo>
                  <a:pt x="202214" y="539868"/>
                  <a:pt x="0" y="742081"/>
                  <a:pt x="0" y="989747"/>
                </a:cubicBezTo>
                <a:lnTo>
                  <a:pt x="0" y="2609321"/>
                </a:lnTo>
                <a:cubicBezTo>
                  <a:pt x="0" y="2856986"/>
                  <a:pt x="202214" y="3059200"/>
                  <a:pt x="449879" y="3059200"/>
                </a:cubicBezTo>
                <a:lnTo>
                  <a:pt x="2789257" y="3059200"/>
                </a:lnTo>
                <a:cubicBezTo>
                  <a:pt x="3036923" y="3059200"/>
                  <a:pt x="3239136" y="2856986"/>
                  <a:pt x="3239136" y="2609321"/>
                </a:cubicBezTo>
                <a:lnTo>
                  <a:pt x="3239136" y="989747"/>
                </a:lnTo>
                <a:cubicBezTo>
                  <a:pt x="3239159" y="742081"/>
                  <a:pt x="3036945" y="539868"/>
                  <a:pt x="2789280" y="539868"/>
                </a:cubicBezTo>
                <a:lnTo>
                  <a:pt x="2159430" y="539868"/>
                </a:lnTo>
                <a:lnTo>
                  <a:pt x="2159430" y="449879"/>
                </a:lnTo>
                <a:cubicBezTo>
                  <a:pt x="2159430" y="202214"/>
                  <a:pt x="1957239" y="0"/>
                  <a:pt x="1709551" y="0"/>
                </a:cubicBezTo>
                <a:close/>
                <a:moveTo>
                  <a:pt x="1529608" y="179954"/>
                </a:moveTo>
                <a:lnTo>
                  <a:pt x="1709562" y="179954"/>
                </a:lnTo>
                <a:cubicBezTo>
                  <a:pt x="1860655" y="179954"/>
                  <a:pt x="1979482" y="298786"/>
                  <a:pt x="1979482" y="449873"/>
                </a:cubicBezTo>
                <a:lnTo>
                  <a:pt x="1979482" y="539862"/>
                </a:lnTo>
                <a:lnTo>
                  <a:pt x="1259678" y="539862"/>
                </a:lnTo>
                <a:lnTo>
                  <a:pt x="1259678" y="449873"/>
                </a:lnTo>
                <a:cubicBezTo>
                  <a:pt x="1259678" y="298780"/>
                  <a:pt x="1378509" y="179954"/>
                  <a:pt x="1529597" y="179954"/>
                </a:cubicBezTo>
                <a:close/>
                <a:moveTo>
                  <a:pt x="449873" y="719821"/>
                </a:moveTo>
                <a:lnTo>
                  <a:pt x="719816" y="719821"/>
                </a:lnTo>
                <a:lnTo>
                  <a:pt x="719816" y="2879291"/>
                </a:lnTo>
                <a:lnTo>
                  <a:pt x="899770" y="2879291"/>
                </a:lnTo>
                <a:lnTo>
                  <a:pt x="899770" y="719821"/>
                </a:lnTo>
                <a:lnTo>
                  <a:pt x="2339435" y="719821"/>
                </a:lnTo>
                <a:lnTo>
                  <a:pt x="2339435" y="2879291"/>
                </a:lnTo>
                <a:lnTo>
                  <a:pt x="2519389" y="2879291"/>
                </a:lnTo>
                <a:lnTo>
                  <a:pt x="2519367" y="719821"/>
                </a:lnTo>
                <a:lnTo>
                  <a:pt x="2789286" y="719821"/>
                </a:lnTo>
                <a:cubicBezTo>
                  <a:pt x="2940397" y="719821"/>
                  <a:pt x="3059229" y="838631"/>
                  <a:pt x="3059229" y="989741"/>
                </a:cubicBezTo>
                <a:lnTo>
                  <a:pt x="3059229" y="2609315"/>
                </a:lnTo>
                <a:cubicBezTo>
                  <a:pt x="3059229" y="2760425"/>
                  <a:pt x="2940397" y="2879594"/>
                  <a:pt x="2789309" y="2879594"/>
                </a:cubicBezTo>
                <a:lnTo>
                  <a:pt x="449874" y="2879594"/>
                </a:lnTo>
                <a:cubicBezTo>
                  <a:pt x="298781" y="2879594"/>
                  <a:pt x="179954" y="2760408"/>
                  <a:pt x="179954" y="2609315"/>
                </a:cubicBezTo>
                <a:lnTo>
                  <a:pt x="179954" y="989741"/>
                </a:lnTo>
                <a:cubicBezTo>
                  <a:pt x="179954" y="838631"/>
                  <a:pt x="298786" y="719821"/>
                  <a:pt x="449874" y="719821"/>
                </a:cubicBezTo>
                <a:close/>
              </a:path>
            </a:pathLst>
          </a:custGeo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  <a:ln w="571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0" name="Graphique 30">
            <a:extLst>
              <a:ext uri="{FF2B5EF4-FFF2-40B4-BE49-F238E27FC236}">
                <a16:creationId xmlns:a16="http://schemas.microsoft.com/office/drawing/2014/main" id="{ECFB8FEA-8F40-623D-6EA9-D32B05071DB2}"/>
              </a:ext>
            </a:extLst>
          </p:cNvPr>
          <p:cNvSpPr/>
          <p:nvPr/>
        </p:nvSpPr>
        <p:spPr>
          <a:xfrm>
            <a:off x="6524081" y="4422049"/>
            <a:ext cx="269277" cy="270364"/>
          </a:xfrm>
          <a:custGeom>
            <a:avLst/>
            <a:gdLst>
              <a:gd name="connsiteX0" fmla="*/ 192359 w 319962"/>
              <a:gd name="connsiteY0" fmla="*/ 22357 h 321254"/>
              <a:gd name="connsiteX1" fmla="*/ 195176 w 319962"/>
              <a:gd name="connsiteY1" fmla="*/ 6918 h 321254"/>
              <a:gd name="connsiteX2" fmla="*/ 190455 w 319962"/>
              <a:gd name="connsiteY2" fmla="*/ 96 h 321254"/>
              <a:gd name="connsiteX3" fmla="*/ 183632 w 319962"/>
              <a:gd name="connsiteY3" fmla="*/ 4817 h 321254"/>
              <a:gd name="connsiteX4" fmla="*/ 183632 w 319962"/>
              <a:gd name="connsiteY4" fmla="*/ 4813 h 321254"/>
              <a:gd name="connsiteX5" fmla="*/ 180820 w 319962"/>
              <a:gd name="connsiteY5" fmla="*/ 20236 h 321254"/>
              <a:gd name="connsiteX6" fmla="*/ 156274 w 319962"/>
              <a:gd name="connsiteY6" fmla="*/ 18371 h 321254"/>
              <a:gd name="connsiteX7" fmla="*/ 57216 w 319962"/>
              <a:gd name="connsiteY7" fmla="*/ 51796 h 321254"/>
              <a:gd name="connsiteX8" fmla="*/ 165 w 319962"/>
              <a:gd name="connsiteY8" fmla="*/ 138829 h 321254"/>
              <a:gd name="connsiteX9" fmla="*/ 3154 w 319962"/>
              <a:gd name="connsiteY9" fmla="*/ 145416 h 321254"/>
              <a:gd name="connsiteX10" fmla="*/ 10265 w 319962"/>
              <a:gd name="connsiteY10" fmla="*/ 144101 h 321254"/>
              <a:gd name="connsiteX11" fmla="*/ 44928 w 319962"/>
              <a:gd name="connsiteY11" fmla="*/ 128572 h 321254"/>
              <a:gd name="connsiteX12" fmla="*/ 53471 w 319962"/>
              <a:gd name="connsiteY12" fmla="*/ 129346 h 321254"/>
              <a:gd name="connsiteX13" fmla="*/ 54532 w 319962"/>
              <a:gd name="connsiteY13" fmla="*/ 123577 h 321254"/>
              <a:gd name="connsiteX14" fmla="*/ 53476 w 319962"/>
              <a:gd name="connsiteY14" fmla="*/ 129350 h 321254"/>
              <a:gd name="connsiteX15" fmla="*/ 90274 w 319962"/>
              <a:gd name="connsiteY15" fmla="*/ 163316 h 321254"/>
              <a:gd name="connsiteX16" fmla="*/ 94922 w 319962"/>
              <a:gd name="connsiteY16" fmla="*/ 167654 h 321254"/>
              <a:gd name="connsiteX17" fmla="*/ 100789 w 319962"/>
              <a:gd name="connsiteY17" fmla="*/ 165225 h 321254"/>
              <a:gd name="connsiteX18" fmla="*/ 152905 w 319962"/>
              <a:gd name="connsiteY18" fmla="*/ 138219 h 321254"/>
              <a:gd name="connsiteX19" fmla="*/ 159250 w 319962"/>
              <a:gd name="connsiteY19" fmla="*/ 138548 h 321254"/>
              <a:gd name="connsiteX20" fmla="*/ 153726 w 319962"/>
              <a:gd name="connsiteY20" fmla="*/ 168831 h 321254"/>
              <a:gd name="connsiteX21" fmla="*/ 131591 w 319962"/>
              <a:gd name="connsiteY21" fmla="*/ 290283 h 321254"/>
              <a:gd name="connsiteX22" fmla="*/ 59279 w 319962"/>
              <a:gd name="connsiteY22" fmla="*/ 295745 h 321254"/>
              <a:gd name="connsiteX23" fmla="*/ 30767 w 319962"/>
              <a:gd name="connsiteY23" fmla="*/ 302007 h 321254"/>
              <a:gd name="connsiteX24" fmla="*/ 10599 w 319962"/>
              <a:gd name="connsiteY24" fmla="*/ 310397 h 321254"/>
              <a:gd name="connsiteX25" fmla="*/ 8709 w 319962"/>
              <a:gd name="connsiteY25" fmla="*/ 318475 h 321254"/>
              <a:gd name="connsiteX26" fmla="*/ 16787 w 319962"/>
              <a:gd name="connsiteY26" fmla="*/ 320362 h 321254"/>
              <a:gd name="connsiteX27" fmla="*/ 34108 w 319962"/>
              <a:gd name="connsiteY27" fmla="*/ 313256 h 321254"/>
              <a:gd name="connsiteX28" fmla="*/ 134952 w 319962"/>
              <a:gd name="connsiteY28" fmla="*/ 301991 h 321254"/>
              <a:gd name="connsiteX29" fmla="*/ 208761 w 319962"/>
              <a:gd name="connsiteY29" fmla="*/ 307330 h 321254"/>
              <a:gd name="connsiteX30" fmla="*/ 235806 w 319962"/>
              <a:gd name="connsiteY30" fmla="*/ 313259 h 321254"/>
              <a:gd name="connsiteX31" fmla="*/ 253123 w 319962"/>
              <a:gd name="connsiteY31" fmla="*/ 320369 h 321254"/>
              <a:gd name="connsiteX32" fmla="*/ 261201 w 319962"/>
              <a:gd name="connsiteY32" fmla="*/ 318485 h 321254"/>
              <a:gd name="connsiteX33" fmla="*/ 259319 w 319962"/>
              <a:gd name="connsiteY33" fmla="*/ 310404 h 321254"/>
              <a:gd name="connsiteX34" fmla="*/ 239147 w 319962"/>
              <a:gd name="connsiteY34" fmla="*/ 302007 h 321254"/>
              <a:gd name="connsiteX35" fmla="*/ 143522 w 319962"/>
              <a:gd name="connsiteY35" fmla="*/ 290328 h 321254"/>
              <a:gd name="connsiteX36" fmla="*/ 165282 w 319962"/>
              <a:gd name="connsiteY36" fmla="*/ 170943 h 321254"/>
              <a:gd name="connsiteX37" fmla="*/ 170790 w 319962"/>
              <a:gd name="connsiteY37" fmla="*/ 140745 h 321254"/>
              <a:gd name="connsiteX38" fmla="*/ 215339 w 319962"/>
              <a:gd name="connsiteY38" fmla="*/ 186113 h 321254"/>
              <a:gd name="connsiteX39" fmla="*/ 219978 w 319962"/>
              <a:gd name="connsiteY39" fmla="*/ 190459 h 321254"/>
              <a:gd name="connsiteX40" fmla="*/ 225853 w 319962"/>
              <a:gd name="connsiteY40" fmla="*/ 188033 h 321254"/>
              <a:gd name="connsiteX41" fmla="*/ 263694 w 319962"/>
              <a:gd name="connsiteY41" fmla="*/ 168463 h 321254"/>
              <a:gd name="connsiteX42" fmla="*/ 272258 w 319962"/>
              <a:gd name="connsiteY42" fmla="*/ 169241 h 321254"/>
              <a:gd name="connsiteX43" fmla="*/ 272269 w 319962"/>
              <a:gd name="connsiteY43" fmla="*/ 169241 h 321254"/>
              <a:gd name="connsiteX44" fmla="*/ 307497 w 319962"/>
              <a:gd name="connsiteY44" fmla="*/ 198289 h 321254"/>
              <a:gd name="connsiteX45" fmla="*/ 313688 w 319962"/>
              <a:gd name="connsiteY45" fmla="*/ 202033 h 321254"/>
              <a:gd name="connsiteX46" fmla="*/ 318808 w 319962"/>
              <a:gd name="connsiteY46" fmla="*/ 196920 h 321254"/>
              <a:gd name="connsiteX47" fmla="*/ 319962 w 319962"/>
              <a:gd name="connsiteY47" fmla="*/ 178027 h 321254"/>
              <a:gd name="connsiteX48" fmla="*/ 192359 w 319962"/>
              <a:gd name="connsiteY48" fmla="*/ 22361 h 321254"/>
              <a:gd name="connsiteX49" fmla="*/ 55587 w 319962"/>
              <a:gd name="connsiteY49" fmla="*/ 117803 h 321254"/>
              <a:gd name="connsiteX50" fmla="*/ 44928 w 319962"/>
              <a:gd name="connsiteY50" fmla="*/ 116833 h 321254"/>
              <a:gd name="connsiteX51" fmla="*/ 17077 w 319962"/>
              <a:gd name="connsiteY51" fmla="*/ 123987 h 321254"/>
              <a:gd name="connsiteX52" fmla="*/ 64343 w 319962"/>
              <a:gd name="connsiteY52" fmla="*/ 61112 h 321254"/>
              <a:gd name="connsiteX53" fmla="*/ 154088 w 319962"/>
              <a:gd name="connsiteY53" fmla="*/ 30155 h 321254"/>
              <a:gd name="connsiteX54" fmla="*/ 152245 w 319962"/>
              <a:gd name="connsiteY54" fmla="*/ 31505 h 321254"/>
              <a:gd name="connsiteX55" fmla="*/ 116506 w 319962"/>
              <a:gd name="connsiteY55" fmla="*/ 79223 h 321254"/>
              <a:gd name="connsiteX56" fmla="*/ 93917 w 319962"/>
              <a:gd name="connsiteY56" fmla="*/ 143005 h 321254"/>
              <a:gd name="connsiteX57" fmla="*/ 55593 w 319962"/>
              <a:gd name="connsiteY57" fmla="*/ 117803 h 321254"/>
              <a:gd name="connsiteX58" fmla="*/ 166794 w 319962"/>
              <a:gd name="connsiteY58" fmla="*/ 127750 h 321254"/>
              <a:gd name="connsiteX59" fmla="*/ 166805 w 319962"/>
              <a:gd name="connsiteY59" fmla="*/ 127750 h 321254"/>
              <a:gd name="connsiteX60" fmla="*/ 152907 w 319962"/>
              <a:gd name="connsiteY60" fmla="*/ 126483 h 321254"/>
              <a:gd name="connsiteX61" fmla="*/ 106062 w 319962"/>
              <a:gd name="connsiteY61" fmla="*/ 142705 h 321254"/>
              <a:gd name="connsiteX62" fmla="*/ 137348 w 319962"/>
              <a:gd name="connsiteY62" fmla="*/ 66201 h 321254"/>
              <a:gd name="connsiteX63" fmla="*/ 159445 w 319962"/>
              <a:gd name="connsiteY63" fmla="*/ 40764 h 321254"/>
              <a:gd name="connsiteX64" fmla="*/ 180215 w 319962"/>
              <a:gd name="connsiteY64" fmla="*/ 32288 h 321254"/>
              <a:gd name="connsiteX65" fmla="*/ 184134 w 319962"/>
              <a:gd name="connsiteY65" fmla="*/ 32639 h 321254"/>
              <a:gd name="connsiteX66" fmla="*/ 198251 w 319962"/>
              <a:gd name="connsiteY66" fmla="*/ 40853 h 321254"/>
              <a:gd name="connsiteX67" fmla="*/ 214492 w 319962"/>
              <a:gd name="connsiteY67" fmla="*/ 74011 h 321254"/>
              <a:gd name="connsiteX68" fmla="*/ 220535 w 319962"/>
              <a:gd name="connsiteY68" fmla="*/ 126752 h 321254"/>
              <a:gd name="connsiteX69" fmla="*/ 218329 w 319962"/>
              <a:gd name="connsiteY69" fmla="*/ 163169 h 321254"/>
              <a:gd name="connsiteX70" fmla="*/ 166794 w 319962"/>
              <a:gd name="connsiteY70" fmla="*/ 127749 h 321254"/>
              <a:gd name="connsiteX71" fmla="*/ 274360 w 319962"/>
              <a:gd name="connsiteY71" fmla="*/ 157690 h 321254"/>
              <a:gd name="connsiteX72" fmla="*/ 274371 w 319962"/>
              <a:gd name="connsiteY72" fmla="*/ 157690 h 321254"/>
              <a:gd name="connsiteX73" fmla="*/ 263684 w 319962"/>
              <a:gd name="connsiteY73" fmla="*/ 156719 h 321254"/>
              <a:gd name="connsiteX74" fmla="*/ 229556 w 319962"/>
              <a:gd name="connsiteY74" fmla="*/ 167828 h 321254"/>
              <a:gd name="connsiteX75" fmla="*/ 232278 w 319962"/>
              <a:gd name="connsiteY75" fmla="*/ 126753 h 321254"/>
              <a:gd name="connsiteX76" fmla="*/ 220915 w 319962"/>
              <a:gd name="connsiteY76" fmla="*/ 56005 h 321254"/>
              <a:gd name="connsiteX77" fmla="*/ 213049 w 319962"/>
              <a:gd name="connsiteY77" fmla="*/ 40895 h 321254"/>
              <a:gd name="connsiteX78" fmla="*/ 308192 w 319962"/>
              <a:gd name="connsiteY78" fmla="*/ 176986 h 321254"/>
              <a:gd name="connsiteX79" fmla="*/ 274360 w 319962"/>
              <a:gd name="connsiteY79" fmla="*/ 157690 h 32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319962" h="321254">
                <a:moveTo>
                  <a:pt x="192359" y="22357"/>
                </a:moveTo>
                <a:lnTo>
                  <a:pt x="195176" y="6918"/>
                </a:lnTo>
                <a:cubicBezTo>
                  <a:pt x="195755" y="3730"/>
                  <a:pt x="193639" y="671"/>
                  <a:pt x="190455" y="96"/>
                </a:cubicBezTo>
                <a:cubicBezTo>
                  <a:pt x="187270" y="-484"/>
                  <a:pt x="184212" y="1629"/>
                  <a:pt x="183632" y="4817"/>
                </a:cubicBezTo>
                <a:lnTo>
                  <a:pt x="183632" y="4813"/>
                </a:lnTo>
                <a:lnTo>
                  <a:pt x="180820" y="20236"/>
                </a:lnTo>
                <a:cubicBezTo>
                  <a:pt x="172578" y="19008"/>
                  <a:pt x="164375" y="18371"/>
                  <a:pt x="156274" y="18371"/>
                </a:cubicBezTo>
                <a:cubicBezTo>
                  <a:pt x="119551" y="18375"/>
                  <a:pt x="84884" y="30618"/>
                  <a:pt x="57216" y="51796"/>
                </a:cubicBezTo>
                <a:cubicBezTo>
                  <a:pt x="29546" y="72962"/>
                  <a:pt x="8849" y="103113"/>
                  <a:pt x="165" y="138829"/>
                </a:cubicBezTo>
                <a:cubicBezTo>
                  <a:pt x="-469" y="141446"/>
                  <a:pt x="764" y="144168"/>
                  <a:pt x="3154" y="145416"/>
                </a:cubicBezTo>
                <a:cubicBezTo>
                  <a:pt x="5544" y="146664"/>
                  <a:pt x="8481" y="146120"/>
                  <a:pt x="10265" y="144101"/>
                </a:cubicBezTo>
                <a:cubicBezTo>
                  <a:pt x="18773" y="134475"/>
                  <a:pt x="31352" y="128569"/>
                  <a:pt x="44928" y="128572"/>
                </a:cubicBezTo>
                <a:cubicBezTo>
                  <a:pt x="47745" y="128572"/>
                  <a:pt x="50596" y="128819"/>
                  <a:pt x="53471" y="129346"/>
                </a:cubicBezTo>
                <a:lnTo>
                  <a:pt x="54532" y="123577"/>
                </a:lnTo>
                <a:lnTo>
                  <a:pt x="53476" y="129350"/>
                </a:lnTo>
                <a:cubicBezTo>
                  <a:pt x="72118" y="132741"/>
                  <a:pt x="86060" y="146554"/>
                  <a:pt x="90274" y="163316"/>
                </a:cubicBezTo>
                <a:cubicBezTo>
                  <a:pt x="90837" y="165542"/>
                  <a:pt x="92653" y="167243"/>
                  <a:pt x="94922" y="167654"/>
                </a:cubicBezTo>
                <a:cubicBezTo>
                  <a:pt x="97183" y="168066"/>
                  <a:pt x="99483" y="167111"/>
                  <a:pt x="100789" y="165225"/>
                </a:cubicBezTo>
                <a:cubicBezTo>
                  <a:pt x="112258" y="148663"/>
                  <a:pt x="131699" y="138212"/>
                  <a:pt x="152905" y="138219"/>
                </a:cubicBezTo>
                <a:cubicBezTo>
                  <a:pt x="155006" y="138219"/>
                  <a:pt x="157122" y="138340"/>
                  <a:pt x="159250" y="138548"/>
                </a:cubicBezTo>
                <a:lnTo>
                  <a:pt x="153726" y="168831"/>
                </a:lnTo>
                <a:lnTo>
                  <a:pt x="131591" y="290283"/>
                </a:lnTo>
                <a:cubicBezTo>
                  <a:pt x="104750" y="290435"/>
                  <a:pt x="79883" y="292407"/>
                  <a:pt x="59279" y="295745"/>
                </a:cubicBezTo>
                <a:cubicBezTo>
                  <a:pt x="48537" y="297479"/>
                  <a:pt x="38950" y="299578"/>
                  <a:pt x="30767" y="302007"/>
                </a:cubicBezTo>
                <a:cubicBezTo>
                  <a:pt x="22583" y="304442"/>
                  <a:pt x="15824" y="307157"/>
                  <a:pt x="10599" y="310397"/>
                </a:cubicBezTo>
                <a:cubicBezTo>
                  <a:pt x="7845" y="312109"/>
                  <a:pt x="7000" y="315720"/>
                  <a:pt x="8709" y="318475"/>
                </a:cubicBezTo>
                <a:cubicBezTo>
                  <a:pt x="10418" y="321229"/>
                  <a:pt x="14037" y="322077"/>
                  <a:pt x="16787" y="320362"/>
                </a:cubicBezTo>
                <a:cubicBezTo>
                  <a:pt x="20604" y="317979"/>
                  <a:pt x="26562" y="315482"/>
                  <a:pt x="34108" y="313256"/>
                </a:cubicBezTo>
                <a:cubicBezTo>
                  <a:pt x="56799" y="306505"/>
                  <a:pt x="93623" y="301971"/>
                  <a:pt x="134952" y="301991"/>
                </a:cubicBezTo>
                <a:cubicBezTo>
                  <a:pt x="162526" y="301991"/>
                  <a:pt x="188049" y="303982"/>
                  <a:pt x="208761" y="307330"/>
                </a:cubicBezTo>
                <a:cubicBezTo>
                  <a:pt x="219112" y="309002"/>
                  <a:pt x="228257" y="311017"/>
                  <a:pt x="235806" y="313259"/>
                </a:cubicBezTo>
                <a:cubicBezTo>
                  <a:pt x="243351" y="315486"/>
                  <a:pt x="249304" y="317983"/>
                  <a:pt x="253123" y="320369"/>
                </a:cubicBezTo>
                <a:cubicBezTo>
                  <a:pt x="255877" y="322080"/>
                  <a:pt x="259491" y="321236"/>
                  <a:pt x="261201" y="318485"/>
                </a:cubicBezTo>
                <a:cubicBezTo>
                  <a:pt x="262910" y="315733"/>
                  <a:pt x="262073" y="312112"/>
                  <a:pt x="259319" y="310404"/>
                </a:cubicBezTo>
                <a:cubicBezTo>
                  <a:pt x="254089" y="307164"/>
                  <a:pt x="247333" y="304445"/>
                  <a:pt x="239147" y="302007"/>
                </a:cubicBezTo>
                <a:cubicBezTo>
                  <a:pt x="216323" y="295256"/>
                  <a:pt x="182230" y="290904"/>
                  <a:pt x="143522" y="290328"/>
                </a:cubicBezTo>
                <a:lnTo>
                  <a:pt x="165282" y="170943"/>
                </a:lnTo>
                <a:lnTo>
                  <a:pt x="170790" y="140745"/>
                </a:lnTo>
                <a:cubicBezTo>
                  <a:pt x="193351" y="147109"/>
                  <a:pt x="210020" y="164864"/>
                  <a:pt x="215339" y="186113"/>
                </a:cubicBezTo>
                <a:cubicBezTo>
                  <a:pt x="215899" y="188342"/>
                  <a:pt x="217710" y="190047"/>
                  <a:pt x="219978" y="190459"/>
                </a:cubicBezTo>
                <a:cubicBezTo>
                  <a:pt x="222240" y="190870"/>
                  <a:pt x="224539" y="189922"/>
                  <a:pt x="225853" y="188033"/>
                </a:cubicBezTo>
                <a:cubicBezTo>
                  <a:pt x="234176" y="176035"/>
                  <a:pt x="248290" y="168455"/>
                  <a:pt x="263694" y="168463"/>
                </a:cubicBezTo>
                <a:cubicBezTo>
                  <a:pt x="266519" y="168463"/>
                  <a:pt x="269379" y="168710"/>
                  <a:pt x="272258" y="169241"/>
                </a:cubicBezTo>
                <a:lnTo>
                  <a:pt x="272269" y="169241"/>
                </a:lnTo>
                <a:cubicBezTo>
                  <a:pt x="289042" y="172292"/>
                  <a:pt x="301985" y="183789"/>
                  <a:pt x="307497" y="198289"/>
                </a:cubicBezTo>
                <a:cubicBezTo>
                  <a:pt x="308453" y="200812"/>
                  <a:pt x="311015" y="202354"/>
                  <a:pt x="313688" y="202033"/>
                </a:cubicBezTo>
                <a:cubicBezTo>
                  <a:pt x="316364" y="201708"/>
                  <a:pt x="318479" y="199592"/>
                  <a:pt x="318808" y="196920"/>
                </a:cubicBezTo>
                <a:cubicBezTo>
                  <a:pt x="319581" y="190587"/>
                  <a:pt x="319962" y="184278"/>
                  <a:pt x="319962" y="178027"/>
                </a:cubicBezTo>
                <a:cubicBezTo>
                  <a:pt x="319940" y="104547"/>
                  <a:pt x="267553" y="38956"/>
                  <a:pt x="192359" y="22361"/>
                </a:cubicBezTo>
                <a:close/>
                <a:moveTo>
                  <a:pt x="55587" y="117803"/>
                </a:moveTo>
                <a:cubicBezTo>
                  <a:pt x="52000" y="117146"/>
                  <a:pt x="48436" y="116833"/>
                  <a:pt x="44928" y="116833"/>
                </a:cubicBezTo>
                <a:cubicBezTo>
                  <a:pt x="34946" y="116837"/>
                  <a:pt x="25433" y="119434"/>
                  <a:pt x="17077" y="123987"/>
                </a:cubicBezTo>
                <a:cubicBezTo>
                  <a:pt x="26821" y="98656"/>
                  <a:pt x="43394" y="77149"/>
                  <a:pt x="64343" y="61112"/>
                </a:cubicBezTo>
                <a:cubicBezTo>
                  <a:pt x="89447" y="41901"/>
                  <a:pt x="120803" y="30625"/>
                  <a:pt x="154088" y="30155"/>
                </a:cubicBezTo>
                <a:cubicBezTo>
                  <a:pt x="153474" y="30601"/>
                  <a:pt x="152855" y="31031"/>
                  <a:pt x="152245" y="31505"/>
                </a:cubicBezTo>
                <a:cubicBezTo>
                  <a:pt x="139072" y="41780"/>
                  <a:pt x="126965" y="58299"/>
                  <a:pt x="116506" y="79223"/>
                </a:cubicBezTo>
                <a:cubicBezTo>
                  <a:pt x="107400" y="97494"/>
                  <a:pt x="99608" y="119157"/>
                  <a:pt x="93917" y="143005"/>
                </a:cubicBezTo>
                <a:cubicBezTo>
                  <a:pt x="85487" y="130257"/>
                  <a:pt x="71965" y="120795"/>
                  <a:pt x="55593" y="117803"/>
                </a:cubicBezTo>
                <a:close/>
                <a:moveTo>
                  <a:pt x="166794" y="127750"/>
                </a:moveTo>
                <a:lnTo>
                  <a:pt x="166805" y="127750"/>
                </a:lnTo>
                <a:cubicBezTo>
                  <a:pt x="162135" y="126889"/>
                  <a:pt x="157483" y="126483"/>
                  <a:pt x="152907" y="126483"/>
                </a:cubicBezTo>
                <a:cubicBezTo>
                  <a:pt x="135477" y="126491"/>
                  <a:pt x="119055" y="132449"/>
                  <a:pt x="106062" y="142705"/>
                </a:cubicBezTo>
                <a:cubicBezTo>
                  <a:pt x="113663" y="112121"/>
                  <a:pt x="124822" y="85550"/>
                  <a:pt x="137348" y="66201"/>
                </a:cubicBezTo>
                <a:cubicBezTo>
                  <a:pt x="144482" y="55163"/>
                  <a:pt x="152063" y="46498"/>
                  <a:pt x="159445" y="40764"/>
                </a:cubicBezTo>
                <a:cubicBezTo>
                  <a:pt x="166853" y="35006"/>
                  <a:pt x="173894" y="32272"/>
                  <a:pt x="180215" y="32288"/>
                </a:cubicBezTo>
                <a:cubicBezTo>
                  <a:pt x="181533" y="32288"/>
                  <a:pt x="182835" y="32401"/>
                  <a:pt x="184134" y="32639"/>
                </a:cubicBezTo>
                <a:cubicBezTo>
                  <a:pt x="189176" y="33566"/>
                  <a:pt x="193826" y="36218"/>
                  <a:pt x="198251" y="40853"/>
                </a:cubicBezTo>
                <a:cubicBezTo>
                  <a:pt x="204866" y="47781"/>
                  <a:pt x="210600" y="59233"/>
                  <a:pt x="214492" y="74011"/>
                </a:cubicBezTo>
                <a:cubicBezTo>
                  <a:pt x="218404" y="88777"/>
                  <a:pt x="220543" y="106793"/>
                  <a:pt x="220535" y="126752"/>
                </a:cubicBezTo>
                <a:cubicBezTo>
                  <a:pt x="220539" y="138315"/>
                  <a:pt x="219812" y="150539"/>
                  <a:pt x="218329" y="163169"/>
                </a:cubicBezTo>
                <a:cubicBezTo>
                  <a:pt x="207551" y="145261"/>
                  <a:pt x="189228" y="131837"/>
                  <a:pt x="166794" y="127749"/>
                </a:cubicBezTo>
                <a:close/>
                <a:moveTo>
                  <a:pt x="274360" y="157690"/>
                </a:moveTo>
                <a:lnTo>
                  <a:pt x="274371" y="157690"/>
                </a:lnTo>
                <a:cubicBezTo>
                  <a:pt x="270773" y="157029"/>
                  <a:pt x="267197" y="156716"/>
                  <a:pt x="263684" y="156719"/>
                </a:cubicBezTo>
                <a:cubicBezTo>
                  <a:pt x="251100" y="156719"/>
                  <a:pt x="239237" y="160807"/>
                  <a:pt x="229556" y="167828"/>
                </a:cubicBezTo>
                <a:cubicBezTo>
                  <a:pt x="231362" y="153601"/>
                  <a:pt x="232274" y="139805"/>
                  <a:pt x="232278" y="126753"/>
                </a:cubicBezTo>
                <a:cubicBezTo>
                  <a:pt x="232263" y="99024"/>
                  <a:pt x="228382" y="74608"/>
                  <a:pt x="220915" y="56005"/>
                </a:cubicBezTo>
                <a:cubicBezTo>
                  <a:pt x="218654" y="50396"/>
                  <a:pt x="216010" y="45377"/>
                  <a:pt x="213049" y="40895"/>
                </a:cubicBezTo>
                <a:cubicBezTo>
                  <a:pt x="269907" y="63233"/>
                  <a:pt x="307768" y="117370"/>
                  <a:pt x="308192" y="176986"/>
                </a:cubicBezTo>
                <a:cubicBezTo>
                  <a:pt x="299798" y="167265"/>
                  <a:pt x="288087" y="160190"/>
                  <a:pt x="274360" y="157690"/>
                </a:cubicBezTo>
                <a:close/>
              </a:path>
            </a:pathLst>
          </a:custGeo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  <a:ln w="3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8" name="Image 7" descr="Une image contenant texte, Police, logo, Graphique&#10;&#10;Le contenu généré par l’IA peut être incorrect.">
            <a:extLst>
              <a:ext uri="{FF2B5EF4-FFF2-40B4-BE49-F238E27FC236}">
                <a16:creationId xmlns:a16="http://schemas.microsoft.com/office/drawing/2014/main" id="{8DCC4C3C-825C-1256-0620-3D124D715B8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784" y="616909"/>
            <a:ext cx="2367575" cy="547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6997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E5F3BE25-A3A7-F261-3A6B-AC8E1133DE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6" progId="TCLayout.ActiveDocument.1">
                  <p:embed/>
                </p:oleObj>
              </mc:Choice>
              <mc:Fallback>
                <p:oleObj name="Diapositive think-cell" r:id="rId3" imgW="395" imgH="39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F3BE25-A3A7-F261-3A6B-AC8E1133DE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3909DE20-3BED-7762-52FE-DDB979D0A9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313598" cy="715879"/>
          </a:xfrm>
        </p:spPr>
        <p:txBody>
          <a:bodyPr vert="horz">
            <a:normAutofit/>
          </a:bodyPr>
          <a:lstStyle/>
          <a:p>
            <a:r>
              <a:rPr lang="en-US" b="1" dirty="0">
                <a:latin typeface="+mn-lt"/>
              </a:rPr>
              <a:t>TOGETHER, AIR FRANCE, KLM and Transavia OFFER TRAVELLERS ONE OF THE WORLD'S MOST EXTENSIVE and diversified NETWORKS</a:t>
            </a:r>
            <a:endParaRPr lang="fr-FR" b="1" dirty="0">
              <a:latin typeface="+mn-lt"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7E20034E-AD8B-517D-5D27-1735B6E6ADAD}"/>
              </a:ext>
            </a:extLst>
          </p:cNvPr>
          <p:cNvGrpSpPr/>
          <p:nvPr/>
        </p:nvGrpSpPr>
        <p:grpSpPr>
          <a:xfrm>
            <a:off x="9348833" y="4783316"/>
            <a:ext cx="2843167" cy="798297"/>
            <a:chOff x="9348833" y="4012895"/>
            <a:chExt cx="2843167" cy="79829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AAEFFBA-BEF8-A74E-3A00-0B5B0D9538ED}"/>
                </a:ext>
              </a:extLst>
            </p:cNvPr>
            <p:cNvSpPr/>
            <p:nvPr/>
          </p:nvSpPr>
          <p:spPr>
            <a:xfrm>
              <a:off x="9413082" y="4012895"/>
              <a:ext cx="2778918" cy="798297"/>
            </a:xfrm>
            <a:prstGeom prst="rect">
              <a:avLst/>
            </a:prstGeom>
            <a:solidFill>
              <a:srgbClr val="F6F8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800B9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14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Transavia destinations from ORY and AMS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46F2B5A-FF13-0068-E553-C78C72FFE374}"/>
                </a:ext>
              </a:extLst>
            </p:cNvPr>
            <p:cNvSpPr/>
            <p:nvPr/>
          </p:nvSpPr>
          <p:spPr>
            <a:xfrm>
              <a:off x="9348833" y="4012895"/>
              <a:ext cx="72000" cy="79829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87C197A9-52C9-EDCF-6A68-E362C4E21624}"/>
              </a:ext>
            </a:extLst>
          </p:cNvPr>
          <p:cNvGrpSpPr/>
          <p:nvPr/>
        </p:nvGrpSpPr>
        <p:grpSpPr>
          <a:xfrm>
            <a:off x="9348833" y="2177388"/>
            <a:ext cx="2843167" cy="798297"/>
            <a:chOff x="9348833" y="1939511"/>
            <a:chExt cx="2843167" cy="79829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6108328-8139-B60E-B770-8A76F937ED3A}"/>
                </a:ext>
              </a:extLst>
            </p:cNvPr>
            <p:cNvSpPr/>
            <p:nvPr/>
          </p:nvSpPr>
          <p:spPr>
            <a:xfrm>
              <a:off x="9413082" y="1939511"/>
              <a:ext cx="2778918" cy="798297"/>
            </a:xfrm>
            <a:prstGeom prst="rect">
              <a:avLst/>
            </a:prstGeom>
            <a:solidFill>
              <a:srgbClr val="F6F8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800B9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17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Air France destinations from CDG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FEFF5D5-6557-7DE9-3EC6-7A83B800D663}"/>
                </a:ext>
              </a:extLst>
            </p:cNvPr>
            <p:cNvSpPr/>
            <p:nvPr/>
          </p:nvSpPr>
          <p:spPr>
            <a:xfrm>
              <a:off x="9348833" y="1939511"/>
              <a:ext cx="72000" cy="798297"/>
            </a:xfrm>
            <a:prstGeom prst="rect">
              <a:avLst/>
            </a:prstGeom>
            <a:solidFill>
              <a:srgbClr val="0510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C326248C-4758-44B2-66F9-695FBD36A42B}"/>
              </a:ext>
            </a:extLst>
          </p:cNvPr>
          <p:cNvSpPr/>
          <p:nvPr/>
        </p:nvSpPr>
        <p:spPr>
          <a:xfrm>
            <a:off x="9348000" y="6086281"/>
            <a:ext cx="2844000" cy="170802"/>
          </a:xfrm>
          <a:prstGeom prst="rect">
            <a:avLst/>
          </a:prstGeom>
          <a:gradFill flip="none" rotWithShape="1">
            <a:gsLst>
              <a:gs pos="50000">
                <a:srgbClr val="0367D4"/>
              </a:gs>
              <a:gs pos="0">
                <a:srgbClr val="0800B9"/>
              </a:gs>
              <a:gs pos="100000">
                <a:srgbClr val="009EE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90" name="Image 89">
            <a:extLst>
              <a:ext uri="{FF2B5EF4-FFF2-40B4-BE49-F238E27FC236}">
                <a16:creationId xmlns:a16="http://schemas.microsoft.com/office/drawing/2014/main" id="{3450C65E-C81D-234A-F525-1FBDAB94068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658799" y="4370096"/>
            <a:ext cx="3152636" cy="1728000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4E9D537A-9D50-CD8F-1B39-33E50A0D39B1}"/>
              </a:ext>
            </a:extLst>
          </p:cNvPr>
          <p:cNvSpPr/>
          <p:nvPr/>
        </p:nvSpPr>
        <p:spPr>
          <a:xfrm rot="5400000">
            <a:off x="2229717" y="2754084"/>
            <a:ext cx="10800" cy="315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4E5D43A-5F1C-7290-4857-33E2ED59F9FA}"/>
              </a:ext>
            </a:extLst>
          </p:cNvPr>
          <p:cNvSpPr/>
          <p:nvPr/>
        </p:nvSpPr>
        <p:spPr>
          <a:xfrm>
            <a:off x="2125141" y="4129277"/>
            <a:ext cx="696788" cy="2024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A1E4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rom AMS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A5530704-E4A9-6F13-5F87-74913FA01997}"/>
              </a:ext>
            </a:extLst>
          </p:cNvPr>
          <p:cNvSpPr/>
          <p:nvPr/>
        </p:nvSpPr>
        <p:spPr>
          <a:xfrm rot="5400000">
            <a:off x="2229717" y="526218"/>
            <a:ext cx="10800" cy="3150000"/>
          </a:xfrm>
          <a:prstGeom prst="rect">
            <a:avLst/>
          </a:prstGeom>
          <a:solidFill>
            <a:srgbClr val="0510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58" name="Picture 2" descr="Logo de Air France-KLM aux formats PNG transparent et SVG vectorisé">
            <a:extLst>
              <a:ext uri="{FF2B5EF4-FFF2-40B4-BE49-F238E27FC236}">
                <a16:creationId xmlns:a16="http://schemas.microsoft.com/office/drawing/2014/main" id="{AB60DD9E-D81C-63D6-421F-044182EA7C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80578" y="1948796"/>
            <a:ext cx="1160480" cy="102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79A18A3E-878C-2FB0-8ABA-82DAABD989B4}"/>
              </a:ext>
            </a:extLst>
          </p:cNvPr>
          <p:cNvSpPr/>
          <p:nvPr/>
        </p:nvSpPr>
        <p:spPr>
          <a:xfrm>
            <a:off x="2492868" y="1901411"/>
            <a:ext cx="696788" cy="2024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rom CDG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5C86937D-C79F-6476-C4B7-B85DE1C64D20}"/>
              </a:ext>
            </a:extLst>
          </p:cNvPr>
          <p:cNvGrpSpPr/>
          <p:nvPr/>
        </p:nvGrpSpPr>
        <p:grpSpPr>
          <a:xfrm>
            <a:off x="9348833" y="3480352"/>
            <a:ext cx="2843167" cy="798297"/>
            <a:chOff x="9348833" y="2976203"/>
            <a:chExt cx="2843167" cy="79829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54980D7-2D65-638E-2343-E31D50EA664A}"/>
                </a:ext>
              </a:extLst>
            </p:cNvPr>
            <p:cNvSpPr/>
            <p:nvPr/>
          </p:nvSpPr>
          <p:spPr>
            <a:xfrm>
              <a:off x="9413082" y="2976203"/>
              <a:ext cx="2778918" cy="798297"/>
            </a:xfrm>
            <a:prstGeom prst="rect">
              <a:avLst/>
            </a:prstGeom>
            <a:solidFill>
              <a:srgbClr val="F6F8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800B9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16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KLM destinations from AM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2A6F90E-3996-6B33-2913-100D79FBA9ED}"/>
                </a:ext>
              </a:extLst>
            </p:cNvPr>
            <p:cNvSpPr/>
            <p:nvPr/>
          </p:nvSpPr>
          <p:spPr>
            <a:xfrm>
              <a:off x="9348833" y="2976203"/>
              <a:ext cx="72000" cy="798297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pic>
        <p:nvPicPr>
          <p:cNvPr id="86" name="Image 85">
            <a:extLst>
              <a:ext uri="{FF2B5EF4-FFF2-40B4-BE49-F238E27FC236}">
                <a16:creationId xmlns:a16="http://schemas.microsoft.com/office/drawing/2014/main" id="{45E2EF84-4D39-24EB-F698-36F017ECBCC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685" y="2177388"/>
            <a:ext cx="3150864" cy="1728000"/>
          </a:xfrm>
          <a:prstGeom prst="rect">
            <a:avLst/>
          </a:prstGeom>
        </p:spPr>
      </p:pic>
      <p:sp>
        <p:nvSpPr>
          <p:cNvPr id="99" name="Rectangle 98">
            <a:extLst>
              <a:ext uri="{FF2B5EF4-FFF2-40B4-BE49-F238E27FC236}">
                <a16:creationId xmlns:a16="http://schemas.microsoft.com/office/drawing/2014/main" id="{B682F9CC-D841-DA39-34FE-4F462DEDB81B}"/>
              </a:ext>
            </a:extLst>
          </p:cNvPr>
          <p:cNvSpPr/>
          <p:nvPr/>
        </p:nvSpPr>
        <p:spPr>
          <a:xfrm>
            <a:off x="6730645" y="1901411"/>
            <a:ext cx="696788" cy="2024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D66C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rom ORY</a:t>
            </a:r>
          </a:p>
        </p:txBody>
      </p:sp>
      <p:pic>
        <p:nvPicPr>
          <p:cNvPr id="82" name="Image 81">
            <a:extLst>
              <a:ext uri="{FF2B5EF4-FFF2-40B4-BE49-F238E27FC236}">
                <a16:creationId xmlns:a16="http://schemas.microsoft.com/office/drawing/2014/main" id="{5C830EFC-346C-335A-AFEA-313B7DC0E5B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5008333" y="4370096"/>
            <a:ext cx="3146358" cy="1728000"/>
          </a:xfrm>
          <a:prstGeom prst="rect">
            <a:avLst/>
          </a:prstGeom>
        </p:spPr>
      </p:pic>
      <p:pic>
        <p:nvPicPr>
          <p:cNvPr id="84" name="Image 83">
            <a:extLst>
              <a:ext uri="{FF2B5EF4-FFF2-40B4-BE49-F238E27FC236}">
                <a16:creationId xmlns:a16="http://schemas.microsoft.com/office/drawing/2014/main" id="{D070AF52-287F-4E19-AC5D-0C799068281B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8333" y="2177388"/>
            <a:ext cx="3146358" cy="1728000"/>
          </a:xfrm>
          <a:prstGeom prst="rect">
            <a:avLst/>
          </a:prstGeom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2C2DA3FA-38C7-CE90-EEB3-65F3FBE5D5FE}"/>
              </a:ext>
            </a:extLst>
          </p:cNvPr>
          <p:cNvSpPr/>
          <p:nvPr/>
        </p:nvSpPr>
        <p:spPr>
          <a:xfrm rot="5400000">
            <a:off x="6574291" y="2754084"/>
            <a:ext cx="10800" cy="315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9254D00A-F549-391B-2997-A2385BD4377C}"/>
              </a:ext>
            </a:extLst>
          </p:cNvPr>
          <p:cNvSpPr/>
          <p:nvPr/>
        </p:nvSpPr>
        <p:spPr>
          <a:xfrm>
            <a:off x="6730645" y="4129277"/>
            <a:ext cx="696788" cy="2024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D66C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rom AMS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78E981D6-8D53-C99B-2E06-52CBD0C4A910}"/>
              </a:ext>
            </a:extLst>
          </p:cNvPr>
          <p:cNvSpPr/>
          <p:nvPr/>
        </p:nvSpPr>
        <p:spPr>
          <a:xfrm rot="5400000">
            <a:off x="6574291" y="526218"/>
            <a:ext cx="10800" cy="315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5" name="Picture 89">
            <a:extLst>
              <a:ext uri="{FF2B5EF4-FFF2-40B4-BE49-F238E27FC236}">
                <a16:creationId xmlns:a16="http://schemas.microsoft.com/office/drawing/2014/main" id="{A03703D5-CAEE-117A-E65F-2553FCCA0442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9255" y="4032948"/>
            <a:ext cx="425027" cy="255017"/>
          </a:xfrm>
          <a:prstGeom prst="rect">
            <a:avLst/>
          </a:prstGeom>
        </p:spPr>
      </p:pic>
      <p:pic>
        <p:nvPicPr>
          <p:cNvPr id="12" name="Image 11" descr="Une image contenant texte, Police, logo, Graphique&#10;&#10;Le contenu généré par l’IA peut être incorrect.">
            <a:extLst>
              <a:ext uri="{FF2B5EF4-FFF2-40B4-BE49-F238E27FC236}">
                <a16:creationId xmlns:a16="http://schemas.microsoft.com/office/drawing/2014/main" id="{31BEB5B5-14A0-C2EF-9486-DA984A14F89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7291" y="1827415"/>
            <a:ext cx="1117418" cy="258403"/>
          </a:xfrm>
          <a:prstGeom prst="rect">
            <a:avLst/>
          </a:prstGeom>
        </p:spPr>
      </p:pic>
      <p:pic>
        <p:nvPicPr>
          <p:cNvPr id="17" name="Image 16" descr="Une image contenant texte, Police, logo, Graphique&#10;&#10;Le contenu généré par l’IA peut être incorrect.">
            <a:extLst>
              <a:ext uri="{FF2B5EF4-FFF2-40B4-BE49-F238E27FC236}">
                <a16:creationId xmlns:a16="http://schemas.microsoft.com/office/drawing/2014/main" id="{31969934-DAFD-EE4E-F5B9-4EB6C8E0702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7972" y="4081113"/>
            <a:ext cx="1011694" cy="233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0472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think-cell data - do not delete" hidden="1">
            <a:extLst>
              <a:ext uri="{FF2B5EF4-FFF2-40B4-BE49-F238E27FC236}">
                <a16:creationId xmlns:a16="http://schemas.microsoft.com/office/drawing/2014/main" id="{2A8BC1F2-EEB3-49F1-776A-C7C4950C09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2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8BC1F2-EEB3-49F1-776A-C7C4950C0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925681B1-8434-07E8-A684-FF37D7B8EC4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64926" y="1755130"/>
            <a:ext cx="5227074" cy="4336632"/>
          </a:xfrm>
          <a:prstGeom prst="rect">
            <a:avLst/>
          </a:prstGeom>
        </p:spPr>
      </p:pic>
      <p:sp>
        <p:nvSpPr>
          <p:cNvPr id="6" name="Titre 5">
            <a:extLst>
              <a:ext uri="{FF2B5EF4-FFF2-40B4-BE49-F238E27FC236}">
                <a16:creationId xmlns:a16="http://schemas.microsoft.com/office/drawing/2014/main" id="{E4440D7D-9C25-F881-00B8-89FEE4725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2000" b="1" dirty="0">
                <a:latin typeface="+mn-lt"/>
              </a:rPr>
              <a:t>AS a profitable world-leading multi-product MRO provider, Air France-KLM E&amp;M is a key asset for the group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B6F65D-A745-4B65-523F-97FEAADB019D}"/>
              </a:ext>
            </a:extLst>
          </p:cNvPr>
          <p:cNvSpPr/>
          <p:nvPr/>
        </p:nvSpPr>
        <p:spPr>
          <a:xfrm>
            <a:off x="3446938" y="2492674"/>
            <a:ext cx="2556000" cy="105156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3,000+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mploye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F912B1D-0DF2-47AE-0A2E-855D59D7B8B1}"/>
              </a:ext>
            </a:extLst>
          </p:cNvPr>
          <p:cNvSpPr/>
          <p:nvPr/>
        </p:nvSpPr>
        <p:spPr>
          <a:xfrm>
            <a:off x="3446938" y="3762492"/>
            <a:ext cx="2556000" cy="105156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€</a:t>
            </a:r>
            <a:r>
              <a:rPr lang="fr-FR" b="1" dirty="0">
                <a:solidFill>
                  <a:srgbClr val="0800B9"/>
                </a:solidFill>
                <a:latin typeface="Montserrat"/>
              </a:rPr>
              <a:t>9.36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n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rder book (31/12/25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6E4DB1F-24EC-62DC-B44D-0B7F7EE71636}"/>
              </a:ext>
            </a:extLst>
          </p:cNvPr>
          <p:cNvSpPr/>
          <p:nvPr/>
        </p:nvSpPr>
        <p:spPr>
          <a:xfrm>
            <a:off x="3446938" y="5040202"/>
            <a:ext cx="2556000" cy="105156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€</a:t>
            </a:r>
            <a:r>
              <a:rPr lang="en-US" b="1" dirty="0">
                <a:solidFill>
                  <a:srgbClr val="0800B9"/>
                </a:solidFill>
                <a:latin typeface="Montserrat"/>
              </a:rPr>
              <a:t>2.3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n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xternal revenu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BF52BD-F5AD-2541-2285-2AE3E83BD23B}"/>
              </a:ext>
            </a:extLst>
          </p:cNvPr>
          <p:cNvSpPr/>
          <p:nvPr/>
        </p:nvSpPr>
        <p:spPr>
          <a:xfrm>
            <a:off x="658799" y="2492674"/>
            <a:ext cx="2556000" cy="105156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3,000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ircraft supporte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3B7EC9E-2B4F-A6FD-9564-5E5C0A101B69}"/>
              </a:ext>
            </a:extLst>
          </p:cNvPr>
          <p:cNvSpPr/>
          <p:nvPr/>
        </p:nvSpPr>
        <p:spPr>
          <a:xfrm>
            <a:off x="669598" y="3762492"/>
            <a:ext cx="2556000" cy="105156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00+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ustomer airlines</a:t>
            </a:r>
            <a:endParaRPr kumimoji="0" lang="en-US" sz="1600" b="0" i="0" u="none" strike="noStrike" kern="1200" cap="none" spc="0" normalizeH="0" baseline="3000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324F7B4-DE25-361C-6B27-EB7DD6F34F5F}"/>
              </a:ext>
            </a:extLst>
          </p:cNvPr>
          <p:cNvSpPr/>
          <p:nvPr/>
        </p:nvSpPr>
        <p:spPr>
          <a:xfrm>
            <a:off x="658799" y="5040202"/>
            <a:ext cx="2556000" cy="105156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€</a:t>
            </a:r>
            <a:r>
              <a:rPr lang="fr-FR" b="1" dirty="0">
                <a:solidFill>
                  <a:srgbClr val="0800B9"/>
                </a:solidFill>
                <a:latin typeface="Montserrat"/>
              </a:rPr>
              <a:t>5.5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n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otal revenues</a:t>
            </a:r>
            <a:endParaRPr kumimoji="0" lang="en-US" sz="1600" b="0" i="0" u="none" strike="noStrike" kern="1200" cap="none" spc="0" normalizeH="0" baseline="30000" noProof="0" dirty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734B4171-FA29-42F1-3AD7-8897A84E2775}"/>
              </a:ext>
            </a:extLst>
          </p:cNvPr>
          <p:cNvGrpSpPr/>
          <p:nvPr/>
        </p:nvGrpSpPr>
        <p:grpSpPr>
          <a:xfrm>
            <a:off x="1457430" y="1618993"/>
            <a:ext cx="3752867" cy="719866"/>
            <a:chOff x="1457430" y="1618993"/>
            <a:chExt cx="3752867" cy="719866"/>
          </a:xfrm>
        </p:grpSpPr>
        <p:pic>
          <p:nvPicPr>
            <p:cNvPr id="1026" name="Picture 2" descr="Logo AFI KLM EM - NYCO">
              <a:extLst>
                <a:ext uri="{FF2B5EF4-FFF2-40B4-BE49-F238E27FC236}">
                  <a16:creationId xmlns:a16="http://schemas.microsoft.com/office/drawing/2014/main" id="{255173E2-F6C3-06B3-7164-6B92D602E2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7430" y="1618993"/>
              <a:ext cx="2421622" cy="7198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Espace réservé du texte 14">
              <a:extLst>
                <a:ext uri="{FF2B5EF4-FFF2-40B4-BE49-F238E27FC236}">
                  <a16:creationId xmlns:a16="http://schemas.microsoft.com/office/drawing/2014/main" id="{89F83E53-591D-BA12-4F4C-ED2080A5CCDF}"/>
                </a:ext>
              </a:extLst>
            </p:cNvPr>
            <p:cNvSpPr txBox="1">
              <a:spLocks/>
            </p:cNvSpPr>
            <p:nvPr/>
          </p:nvSpPr>
          <p:spPr>
            <a:xfrm>
              <a:off x="3940807" y="1907539"/>
              <a:ext cx="1269490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354" rtl="0" eaLnBrk="1" latinLnBrk="0" hangingPunct="1">
                <a:lnSpc>
                  <a:spcPct val="100000"/>
                </a:lnSpc>
                <a:spcBef>
                  <a:spcPts val="1200"/>
                </a:spcBef>
                <a:buFontTx/>
                <a:buNone/>
                <a:defRPr kumimoji="0" lang="en-GB" sz="1800" b="1" i="0" u="none" strike="noStrike" kern="1200" cap="none" spc="0" normalizeH="0" baseline="0" dirty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defRPr>
              </a:lvl1pPr>
              <a:lvl2pPr marL="180975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1950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4988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5962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474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52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29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06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800B9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in 202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716629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think-cell data - do not delete" hidden="1">
            <a:extLst>
              <a:ext uri="{FF2B5EF4-FFF2-40B4-BE49-F238E27FC236}">
                <a16:creationId xmlns:a16="http://schemas.microsoft.com/office/drawing/2014/main" id="{2A8BC1F2-EEB3-49F1-776A-C7C4950C09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5089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2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8BC1F2-EEB3-49F1-776A-C7C4950C0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2">
            <a:extLst>
              <a:ext uri="{FF2B5EF4-FFF2-40B4-BE49-F238E27FC236}">
                <a16:creationId xmlns:a16="http://schemas.microsoft.com/office/drawing/2014/main" id="{00AEB1AC-619A-CB26-9C42-8C2533EE67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707529" y="1793558"/>
            <a:ext cx="5484471" cy="4315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A1779711-2BE5-3734-BB38-03A7EDF9CE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2000" b="1" dirty="0">
                <a:latin typeface="+mn-lt"/>
              </a:rPr>
              <a:t>AIR FRANCE-</a:t>
            </a:r>
            <a:r>
              <a:rPr lang="en-US" sz="2000" b="1" dirty="0" err="1">
                <a:latin typeface="+mn-lt"/>
              </a:rPr>
              <a:t>klm</a:t>
            </a:r>
            <a:r>
              <a:rPr lang="en-US" sz="2000" b="1" dirty="0">
                <a:latin typeface="+mn-lt"/>
              </a:rPr>
              <a:t> Cargo remains a strong player in a rapidly changing market</a:t>
            </a:r>
            <a:endParaRPr lang="fr-FR" sz="2000" b="1" dirty="0"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F912B1D-0DF2-47AE-0A2E-855D59D7B8B1}"/>
              </a:ext>
            </a:extLst>
          </p:cNvPr>
          <p:cNvSpPr/>
          <p:nvPr/>
        </p:nvSpPr>
        <p:spPr>
          <a:xfrm>
            <a:off x="3446938" y="2865030"/>
            <a:ext cx="2556000" cy="105156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917,000 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reight ton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6E4DB1F-24EC-62DC-B44D-0B7F7EE71636}"/>
              </a:ext>
            </a:extLst>
          </p:cNvPr>
          <p:cNvSpPr/>
          <p:nvPr/>
        </p:nvSpPr>
        <p:spPr>
          <a:xfrm>
            <a:off x="3446938" y="4142740"/>
            <a:ext cx="2556000" cy="105156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3,200 employe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3B7EC9E-2B4F-A6FD-9564-5E5C0A101B69}"/>
              </a:ext>
            </a:extLst>
          </p:cNvPr>
          <p:cNvSpPr/>
          <p:nvPr/>
        </p:nvSpPr>
        <p:spPr>
          <a:xfrm>
            <a:off x="669598" y="2865030"/>
            <a:ext cx="2556000" cy="105156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€2.</a:t>
            </a:r>
            <a:r>
              <a:rPr lang="en-US" b="1" dirty="0">
                <a:solidFill>
                  <a:srgbClr val="0800B9"/>
                </a:solidFill>
                <a:latin typeface="Montserrat"/>
              </a:rPr>
              <a:t>3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raffic revenues</a:t>
            </a:r>
            <a:endParaRPr kumimoji="0" lang="en-US" sz="1600" b="0" i="0" u="none" strike="noStrike" kern="1200" cap="none" spc="0" normalizeH="0" baseline="30000" noProof="0" dirty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324F7B4-DE25-361C-6B27-EB7DD6F34F5F}"/>
              </a:ext>
            </a:extLst>
          </p:cNvPr>
          <p:cNvSpPr/>
          <p:nvPr/>
        </p:nvSpPr>
        <p:spPr>
          <a:xfrm>
            <a:off x="658799" y="4142740"/>
            <a:ext cx="2556000" cy="1051560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lmost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91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%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f initi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ookings online</a:t>
            </a: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79BA3A57-01BF-AC55-564B-7CCABE24523D}"/>
              </a:ext>
            </a:extLst>
          </p:cNvPr>
          <p:cNvGrpSpPr/>
          <p:nvPr/>
        </p:nvGrpSpPr>
        <p:grpSpPr>
          <a:xfrm>
            <a:off x="1602298" y="1580130"/>
            <a:ext cx="3474338" cy="814183"/>
            <a:chOff x="1635854" y="1487851"/>
            <a:chExt cx="3474338" cy="814183"/>
          </a:xfrm>
        </p:grpSpPr>
        <p:sp>
          <p:nvSpPr>
            <p:cNvPr id="3" name="Espace réservé du texte 14">
              <a:extLst>
                <a:ext uri="{FF2B5EF4-FFF2-40B4-BE49-F238E27FC236}">
                  <a16:creationId xmlns:a16="http://schemas.microsoft.com/office/drawing/2014/main" id="{89F83E53-591D-BA12-4F4C-ED2080A5CCDF}"/>
                </a:ext>
              </a:extLst>
            </p:cNvPr>
            <p:cNvSpPr txBox="1">
              <a:spLocks/>
            </p:cNvSpPr>
            <p:nvPr/>
          </p:nvSpPr>
          <p:spPr>
            <a:xfrm>
              <a:off x="4196822" y="1750676"/>
              <a:ext cx="913370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354" rtl="0" eaLnBrk="1" latinLnBrk="0" hangingPunct="1">
                <a:lnSpc>
                  <a:spcPct val="100000"/>
                </a:lnSpc>
                <a:spcBef>
                  <a:spcPts val="1200"/>
                </a:spcBef>
                <a:buFontTx/>
                <a:buNone/>
                <a:defRPr kumimoji="0" lang="en-GB" sz="1800" b="1" i="0" u="none" strike="noStrike" kern="1200" cap="none" spc="0" normalizeH="0" baseline="0" dirty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defRPr>
              </a:lvl1pPr>
              <a:lvl2pPr marL="180975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1950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4988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5962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474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52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29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06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354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800B9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in 2025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pic>
          <p:nvPicPr>
            <p:cNvPr id="6" name="Image 5">
              <a:extLst>
                <a:ext uri="{FF2B5EF4-FFF2-40B4-BE49-F238E27FC236}">
                  <a16:creationId xmlns:a16="http://schemas.microsoft.com/office/drawing/2014/main" id="{A7D8B400-86B6-2535-E4C8-74B2C513D1A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35854" y="1487851"/>
              <a:ext cx="2499919" cy="8141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3605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A8911B27-F7B1-FA15-9A0A-E373536E296F}"/>
              </a:ext>
            </a:extLst>
          </p:cNvPr>
          <p:cNvSpPr/>
          <p:nvPr/>
        </p:nvSpPr>
        <p:spPr>
          <a:xfrm>
            <a:off x="3691208" y="3293168"/>
            <a:ext cx="8500792" cy="1060254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3E84E59-7503-B4E2-F699-4F6609187EBA}"/>
              </a:ext>
            </a:extLst>
          </p:cNvPr>
          <p:cNvSpPr/>
          <p:nvPr/>
        </p:nvSpPr>
        <p:spPr>
          <a:xfrm>
            <a:off x="3691208" y="4792096"/>
            <a:ext cx="8500792" cy="1060254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01E42A0-544C-1C4A-55AA-A5D4408A8295}"/>
              </a:ext>
            </a:extLst>
          </p:cNvPr>
          <p:cNvSpPr/>
          <p:nvPr/>
        </p:nvSpPr>
        <p:spPr>
          <a:xfrm>
            <a:off x="3691208" y="1823188"/>
            <a:ext cx="8500792" cy="1060254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7FB00319-BF4B-CAEE-5ECE-B5335C6F6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274121" cy="715879"/>
          </a:xfrm>
        </p:spPr>
        <p:txBody>
          <a:bodyPr>
            <a:normAutofit/>
          </a:bodyPr>
          <a:lstStyle/>
          <a:p>
            <a:r>
              <a:rPr lang="en-US" sz="2000" b="1" dirty="0">
                <a:latin typeface="+mn-lt"/>
              </a:rPr>
              <a:t>Flying Blue is a leading European loyalty program</a:t>
            </a:r>
            <a:endParaRPr lang="fr-FR" sz="2000" b="1" dirty="0">
              <a:latin typeface="+mn-lt"/>
            </a:endParaRPr>
          </a:p>
        </p:txBody>
      </p:sp>
      <p:cxnSp>
        <p:nvCxnSpPr>
          <p:cNvPr id="6" name="Straight Connector 1000">
            <a:extLst>
              <a:ext uri="{FF2B5EF4-FFF2-40B4-BE49-F238E27FC236}">
                <a16:creationId xmlns:a16="http://schemas.microsoft.com/office/drawing/2014/main" id="{02F07205-AC2D-864C-0EA9-9CA001C7A239}"/>
              </a:ext>
            </a:extLst>
          </p:cNvPr>
          <p:cNvCxnSpPr>
            <a:cxnSpLocks/>
          </p:cNvCxnSpPr>
          <p:nvPr/>
        </p:nvCxnSpPr>
        <p:spPr>
          <a:xfrm flipH="1" flipV="1">
            <a:off x="2963174" y="4405599"/>
            <a:ext cx="714828" cy="366764"/>
          </a:xfrm>
          <a:prstGeom prst="line">
            <a:avLst/>
          </a:prstGeom>
          <a:ln w="9525">
            <a:solidFill>
              <a:srgbClr val="E8ED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982">
            <a:extLst>
              <a:ext uri="{FF2B5EF4-FFF2-40B4-BE49-F238E27FC236}">
                <a16:creationId xmlns:a16="http://schemas.microsoft.com/office/drawing/2014/main" id="{DB7E0B14-54A4-6896-EE7A-16AB32E4398D}"/>
              </a:ext>
            </a:extLst>
          </p:cNvPr>
          <p:cNvCxnSpPr>
            <a:cxnSpLocks/>
          </p:cNvCxnSpPr>
          <p:nvPr/>
        </p:nvCxnSpPr>
        <p:spPr>
          <a:xfrm flipH="1">
            <a:off x="2762921" y="1823188"/>
            <a:ext cx="928287" cy="1214383"/>
          </a:xfrm>
          <a:prstGeom prst="line">
            <a:avLst/>
          </a:prstGeom>
          <a:ln w="9525">
            <a:solidFill>
              <a:srgbClr val="E8ED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987">
            <a:extLst>
              <a:ext uri="{FF2B5EF4-FFF2-40B4-BE49-F238E27FC236}">
                <a16:creationId xmlns:a16="http://schemas.microsoft.com/office/drawing/2014/main" id="{4959D30A-A47B-FF20-89C0-BA44979F67F5}"/>
              </a:ext>
            </a:extLst>
          </p:cNvPr>
          <p:cNvCxnSpPr>
            <a:cxnSpLocks/>
          </p:cNvCxnSpPr>
          <p:nvPr/>
        </p:nvCxnSpPr>
        <p:spPr>
          <a:xfrm flipH="1">
            <a:off x="2963174" y="3294928"/>
            <a:ext cx="714828" cy="384068"/>
          </a:xfrm>
          <a:prstGeom prst="line">
            <a:avLst/>
          </a:prstGeom>
          <a:ln w="9525">
            <a:solidFill>
              <a:srgbClr val="E8ED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 55">
            <a:extLst>
              <a:ext uri="{FF2B5EF4-FFF2-40B4-BE49-F238E27FC236}">
                <a16:creationId xmlns:a16="http://schemas.microsoft.com/office/drawing/2014/main" id="{2CCB08C7-220B-12F1-4AB6-EDEE508F42F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7903" y="2166041"/>
            <a:ext cx="861822" cy="502954"/>
          </a:xfrm>
          <a:prstGeom prst="rect">
            <a:avLst/>
          </a:prstGeom>
        </p:spPr>
      </p:pic>
      <p:sp>
        <p:nvSpPr>
          <p:cNvPr id="15" name="TextBox 976">
            <a:extLst>
              <a:ext uri="{FF2B5EF4-FFF2-40B4-BE49-F238E27FC236}">
                <a16:creationId xmlns:a16="http://schemas.microsoft.com/office/drawing/2014/main" id="{C76A7BE5-72D9-C854-E30E-95699E2C3575}"/>
              </a:ext>
            </a:extLst>
          </p:cNvPr>
          <p:cNvSpPr txBox="1"/>
          <p:nvPr/>
        </p:nvSpPr>
        <p:spPr>
          <a:xfrm>
            <a:off x="3678002" y="1823189"/>
            <a:ext cx="5708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he loyalty program of the group’s airlines…</a:t>
            </a:r>
          </a:p>
        </p:txBody>
      </p:sp>
      <p:cxnSp>
        <p:nvCxnSpPr>
          <p:cNvPr id="16" name="Straight Connector 978">
            <a:extLst>
              <a:ext uri="{FF2B5EF4-FFF2-40B4-BE49-F238E27FC236}">
                <a16:creationId xmlns:a16="http://schemas.microsoft.com/office/drawing/2014/main" id="{92D15420-57F6-0E7F-7C1E-5CC79EFD485A}"/>
              </a:ext>
            </a:extLst>
          </p:cNvPr>
          <p:cNvCxnSpPr>
            <a:cxnSpLocks/>
          </p:cNvCxnSpPr>
          <p:nvPr/>
        </p:nvCxnSpPr>
        <p:spPr>
          <a:xfrm>
            <a:off x="3678001" y="1823189"/>
            <a:ext cx="8568000" cy="0"/>
          </a:xfrm>
          <a:prstGeom prst="line">
            <a:avLst/>
          </a:prstGeom>
          <a:ln w="9525">
            <a:solidFill>
              <a:srgbClr val="E8ED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985">
            <a:extLst>
              <a:ext uri="{FF2B5EF4-FFF2-40B4-BE49-F238E27FC236}">
                <a16:creationId xmlns:a16="http://schemas.microsoft.com/office/drawing/2014/main" id="{24E57800-0A1B-AEE8-3C71-81D9686D5AFF}"/>
              </a:ext>
            </a:extLst>
          </p:cNvPr>
          <p:cNvSpPr txBox="1"/>
          <p:nvPr/>
        </p:nvSpPr>
        <p:spPr>
          <a:xfrm>
            <a:off x="3678002" y="3698728"/>
            <a:ext cx="8777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ncluding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cxnSp>
        <p:nvCxnSpPr>
          <p:cNvPr id="18" name="Straight Connector 986">
            <a:extLst>
              <a:ext uri="{FF2B5EF4-FFF2-40B4-BE49-F238E27FC236}">
                <a16:creationId xmlns:a16="http://schemas.microsoft.com/office/drawing/2014/main" id="{DD90DC20-A117-C1FA-777B-4E1D9A2287D1}"/>
              </a:ext>
            </a:extLst>
          </p:cNvPr>
          <p:cNvCxnSpPr>
            <a:cxnSpLocks/>
          </p:cNvCxnSpPr>
          <p:nvPr/>
        </p:nvCxnSpPr>
        <p:spPr>
          <a:xfrm>
            <a:off x="3678001" y="3295385"/>
            <a:ext cx="8568000" cy="0"/>
          </a:xfrm>
          <a:prstGeom prst="line">
            <a:avLst/>
          </a:prstGeom>
          <a:ln w="9525">
            <a:solidFill>
              <a:srgbClr val="E8ED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1008">
            <a:extLst>
              <a:ext uri="{FF2B5EF4-FFF2-40B4-BE49-F238E27FC236}">
                <a16:creationId xmlns:a16="http://schemas.microsoft.com/office/drawing/2014/main" id="{A25318C0-7F91-0488-BC3E-65DC4D45BE4D}"/>
              </a:ext>
            </a:extLst>
          </p:cNvPr>
          <p:cNvGrpSpPr/>
          <p:nvPr/>
        </p:nvGrpSpPr>
        <p:grpSpPr>
          <a:xfrm>
            <a:off x="4868193" y="3684812"/>
            <a:ext cx="5250136" cy="235907"/>
            <a:chOff x="5526991" y="3458725"/>
            <a:chExt cx="6381724" cy="286753"/>
          </a:xfrm>
        </p:grpSpPr>
        <p:pic>
          <p:nvPicPr>
            <p:cNvPr id="25" name="Image 52">
              <a:extLst>
                <a:ext uri="{FF2B5EF4-FFF2-40B4-BE49-F238E27FC236}">
                  <a16:creationId xmlns:a16="http://schemas.microsoft.com/office/drawing/2014/main" id="{9C48F6D7-0E8F-12C2-9746-1F8CF8913F7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26991" y="3526350"/>
              <a:ext cx="984392" cy="151503"/>
            </a:xfrm>
            <a:prstGeom prst="rect">
              <a:avLst/>
            </a:prstGeom>
          </p:spPr>
        </p:pic>
        <p:pic>
          <p:nvPicPr>
            <p:cNvPr id="26" name="Picture 2">
              <a:extLst>
                <a:ext uri="{FF2B5EF4-FFF2-40B4-BE49-F238E27FC236}">
                  <a16:creationId xmlns:a16="http://schemas.microsoft.com/office/drawing/2014/main" id="{946BA8A1-0302-F8B1-85AA-0672C6131B29}"/>
                </a:ext>
              </a:extLst>
            </p:cNvPr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39697" y="3458725"/>
              <a:ext cx="1223478" cy="286753"/>
            </a:xfrm>
            <a:prstGeom prst="rect">
              <a:avLst/>
            </a:prstGeom>
          </p:spPr>
        </p:pic>
        <p:pic>
          <p:nvPicPr>
            <p:cNvPr id="27" name="Picture 4">
              <a:extLst>
                <a:ext uri="{FF2B5EF4-FFF2-40B4-BE49-F238E27FC236}">
                  <a16:creationId xmlns:a16="http://schemas.microsoft.com/office/drawing/2014/main" id="{20837488-B08C-FFDA-8222-47756483030B}"/>
                </a:ext>
              </a:extLst>
            </p:cNvPr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9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591489" y="3471759"/>
              <a:ext cx="1277353" cy="260685"/>
            </a:xfrm>
            <a:prstGeom prst="rect">
              <a:avLst/>
            </a:prstGeom>
          </p:spPr>
        </p:pic>
        <p:pic>
          <p:nvPicPr>
            <p:cNvPr id="28" name="Picture 7">
              <a:extLst>
                <a:ext uri="{FF2B5EF4-FFF2-40B4-BE49-F238E27FC236}">
                  <a16:creationId xmlns:a16="http://schemas.microsoft.com/office/drawing/2014/main" id="{73CA7B3C-CFFD-18E4-CF0D-A01D598BE767}"/>
                </a:ext>
              </a:extLst>
            </p:cNvPr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97155" y="3528526"/>
              <a:ext cx="1611560" cy="147150"/>
            </a:xfrm>
            <a:prstGeom prst="rect">
              <a:avLst/>
            </a:prstGeom>
          </p:spPr>
        </p:pic>
      </p:grpSp>
      <p:sp>
        <p:nvSpPr>
          <p:cNvPr id="29" name="TextBox 1001">
            <a:extLst>
              <a:ext uri="{FF2B5EF4-FFF2-40B4-BE49-F238E27FC236}">
                <a16:creationId xmlns:a16="http://schemas.microsoft.com/office/drawing/2014/main" id="{9EA7CE63-3099-E074-AD4F-6A437C4787FE}"/>
              </a:ext>
            </a:extLst>
          </p:cNvPr>
          <p:cNvSpPr txBox="1"/>
          <p:nvPr/>
        </p:nvSpPr>
        <p:spPr>
          <a:xfrm>
            <a:off x="3678002" y="4801298"/>
            <a:ext cx="71964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… and an extensive network of non-airline partners</a:t>
            </a:r>
          </a:p>
        </p:txBody>
      </p:sp>
      <p:cxnSp>
        <p:nvCxnSpPr>
          <p:cNvPr id="30" name="Straight Connector 1002">
            <a:extLst>
              <a:ext uri="{FF2B5EF4-FFF2-40B4-BE49-F238E27FC236}">
                <a16:creationId xmlns:a16="http://schemas.microsoft.com/office/drawing/2014/main" id="{E62F6050-99EC-7814-0DDB-39AE3534E15B}"/>
              </a:ext>
            </a:extLst>
          </p:cNvPr>
          <p:cNvCxnSpPr>
            <a:cxnSpLocks/>
          </p:cNvCxnSpPr>
          <p:nvPr/>
        </p:nvCxnSpPr>
        <p:spPr>
          <a:xfrm>
            <a:off x="3678001" y="4772363"/>
            <a:ext cx="8568000" cy="0"/>
          </a:xfrm>
          <a:prstGeom prst="line">
            <a:avLst/>
          </a:prstGeom>
          <a:ln w="9525">
            <a:solidFill>
              <a:srgbClr val="E8ED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1005">
            <a:extLst>
              <a:ext uri="{FF2B5EF4-FFF2-40B4-BE49-F238E27FC236}">
                <a16:creationId xmlns:a16="http://schemas.microsoft.com/office/drawing/2014/main" id="{070825BC-8205-CBC9-69C5-EE6C92EAC49C}"/>
              </a:ext>
            </a:extLst>
          </p:cNvPr>
          <p:cNvSpPr txBox="1"/>
          <p:nvPr/>
        </p:nvSpPr>
        <p:spPr>
          <a:xfrm>
            <a:off x="3678002" y="3305074"/>
            <a:ext cx="5708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… Featuring more than 40 airline partners…</a:t>
            </a:r>
          </a:p>
        </p:txBody>
      </p:sp>
      <p:sp>
        <p:nvSpPr>
          <p:cNvPr id="47" name="TextBox 1028">
            <a:extLst>
              <a:ext uri="{FF2B5EF4-FFF2-40B4-BE49-F238E27FC236}">
                <a16:creationId xmlns:a16="http://schemas.microsoft.com/office/drawing/2014/main" id="{86C47F20-1966-F1D6-02CE-5CF88BA963A5}"/>
              </a:ext>
            </a:extLst>
          </p:cNvPr>
          <p:cNvSpPr txBox="1"/>
          <p:nvPr/>
        </p:nvSpPr>
        <p:spPr>
          <a:xfrm>
            <a:off x="4468962" y="5145779"/>
            <a:ext cx="34334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uropean loyalty program with highest number of co-branded card partners with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3 co-branded cards (“CBC”)</a:t>
            </a:r>
          </a:p>
        </p:txBody>
      </p:sp>
      <p:sp>
        <p:nvSpPr>
          <p:cNvPr id="48" name="TextBox 1029">
            <a:extLst>
              <a:ext uri="{FF2B5EF4-FFF2-40B4-BE49-F238E27FC236}">
                <a16:creationId xmlns:a16="http://schemas.microsoft.com/office/drawing/2014/main" id="{B980723C-A141-E68A-3410-40BEAFAE146D}"/>
              </a:ext>
            </a:extLst>
          </p:cNvPr>
          <p:cNvSpPr txBox="1"/>
          <p:nvPr/>
        </p:nvSpPr>
        <p:spPr>
          <a:xfrm>
            <a:off x="9072033" y="5145779"/>
            <a:ext cx="25663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00+ commercial partner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spread over the world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555D21B4-6381-E87F-B030-B6C31CF3CF25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387859" y="5280362"/>
            <a:ext cx="546132" cy="333748"/>
          </a:xfrm>
          <a:prstGeom prst="rect">
            <a:avLst/>
          </a:prstGeom>
        </p:spPr>
      </p:pic>
      <p:sp>
        <p:nvSpPr>
          <p:cNvPr id="50" name="Graphique 48">
            <a:extLst>
              <a:ext uri="{FF2B5EF4-FFF2-40B4-BE49-F238E27FC236}">
                <a16:creationId xmlns:a16="http://schemas.microsoft.com/office/drawing/2014/main" id="{D2878A11-2B83-282F-F4AB-F033CF09E8AC}"/>
              </a:ext>
            </a:extLst>
          </p:cNvPr>
          <p:cNvSpPr/>
          <p:nvPr/>
        </p:nvSpPr>
        <p:spPr>
          <a:xfrm>
            <a:off x="3899139" y="5312205"/>
            <a:ext cx="435496" cy="290330"/>
          </a:xfrm>
          <a:custGeom>
            <a:avLst/>
            <a:gdLst>
              <a:gd name="connsiteX0" fmla="*/ 390500 w 589788"/>
              <a:gd name="connsiteY0" fmla="*/ 93154 h 393192"/>
              <a:gd name="connsiteX1" fmla="*/ 220117 w 589788"/>
              <a:gd name="connsiteY1" fmla="*/ 315963 h 393192"/>
              <a:gd name="connsiteX2" fmla="*/ 199290 w 589788"/>
              <a:gd name="connsiteY2" fmla="*/ 300038 h 393192"/>
              <a:gd name="connsiteX3" fmla="*/ 369673 w 589788"/>
              <a:gd name="connsiteY3" fmla="*/ 77229 h 393192"/>
              <a:gd name="connsiteX4" fmla="*/ 190043 w 589788"/>
              <a:gd name="connsiteY4" fmla="*/ 124505 h 393192"/>
              <a:gd name="connsiteX5" fmla="*/ 235909 w 589788"/>
              <a:gd name="connsiteY5" fmla="*/ 78633 h 393192"/>
              <a:gd name="connsiteX6" fmla="*/ 281788 w 589788"/>
              <a:gd name="connsiteY6" fmla="*/ 124505 h 393192"/>
              <a:gd name="connsiteX7" fmla="*/ 235915 w 589788"/>
              <a:gd name="connsiteY7" fmla="*/ 170384 h 393192"/>
              <a:gd name="connsiteX8" fmla="*/ 190043 w 589788"/>
              <a:gd name="connsiteY8" fmla="*/ 124505 h 393192"/>
              <a:gd name="connsiteX9" fmla="*/ 216256 w 589788"/>
              <a:gd name="connsiteY9" fmla="*/ 124505 h 393192"/>
              <a:gd name="connsiteX10" fmla="*/ 235915 w 589788"/>
              <a:gd name="connsiteY10" fmla="*/ 144172 h 393192"/>
              <a:gd name="connsiteX11" fmla="*/ 255575 w 589788"/>
              <a:gd name="connsiteY11" fmla="*/ 124505 h 393192"/>
              <a:gd name="connsiteX12" fmla="*/ 235909 w 589788"/>
              <a:gd name="connsiteY12" fmla="*/ 104846 h 393192"/>
              <a:gd name="connsiteX13" fmla="*/ 216256 w 589788"/>
              <a:gd name="connsiteY13" fmla="*/ 124505 h 393192"/>
              <a:gd name="connsiteX14" fmla="*/ 308000 w 589788"/>
              <a:gd name="connsiteY14" fmla="*/ 268681 h 393192"/>
              <a:gd name="connsiteX15" fmla="*/ 353866 w 589788"/>
              <a:gd name="connsiteY15" fmla="*/ 222809 h 393192"/>
              <a:gd name="connsiteX16" fmla="*/ 399745 w 589788"/>
              <a:gd name="connsiteY16" fmla="*/ 268681 h 393192"/>
              <a:gd name="connsiteX17" fmla="*/ 353873 w 589788"/>
              <a:gd name="connsiteY17" fmla="*/ 314560 h 393192"/>
              <a:gd name="connsiteX18" fmla="*/ 308000 w 589788"/>
              <a:gd name="connsiteY18" fmla="*/ 268681 h 393192"/>
              <a:gd name="connsiteX19" fmla="*/ 334213 w 589788"/>
              <a:gd name="connsiteY19" fmla="*/ 268681 h 393192"/>
              <a:gd name="connsiteX20" fmla="*/ 353873 w 589788"/>
              <a:gd name="connsiteY20" fmla="*/ 288347 h 393192"/>
              <a:gd name="connsiteX21" fmla="*/ 373532 w 589788"/>
              <a:gd name="connsiteY21" fmla="*/ 268681 h 393192"/>
              <a:gd name="connsiteX22" fmla="*/ 353866 w 589788"/>
              <a:gd name="connsiteY22" fmla="*/ 249022 h 393192"/>
              <a:gd name="connsiteX23" fmla="*/ 334213 w 589788"/>
              <a:gd name="connsiteY23" fmla="*/ 268681 h 393192"/>
              <a:gd name="connsiteX24" fmla="*/ 589788 w 589788"/>
              <a:gd name="connsiteY24" fmla="*/ 58979 h 393192"/>
              <a:gd name="connsiteX25" fmla="*/ 589788 w 589788"/>
              <a:gd name="connsiteY25" fmla="*/ 334213 h 393192"/>
              <a:gd name="connsiteX26" fmla="*/ 530809 w 589788"/>
              <a:gd name="connsiteY26" fmla="*/ 393192 h 393192"/>
              <a:gd name="connsiteX27" fmla="*/ 58979 w 589788"/>
              <a:gd name="connsiteY27" fmla="*/ 393192 h 393192"/>
              <a:gd name="connsiteX28" fmla="*/ 0 w 589788"/>
              <a:gd name="connsiteY28" fmla="*/ 334213 h 393192"/>
              <a:gd name="connsiteX29" fmla="*/ 0 w 589788"/>
              <a:gd name="connsiteY29" fmla="*/ 58979 h 393192"/>
              <a:gd name="connsiteX30" fmla="*/ 58979 w 589788"/>
              <a:gd name="connsiteY30" fmla="*/ 0 h 393192"/>
              <a:gd name="connsiteX31" fmla="*/ 530809 w 589788"/>
              <a:gd name="connsiteY31" fmla="*/ 0 h 393192"/>
              <a:gd name="connsiteX32" fmla="*/ 589788 w 589788"/>
              <a:gd name="connsiteY32" fmla="*/ 58979 h 393192"/>
              <a:gd name="connsiteX33" fmla="*/ 563575 w 589788"/>
              <a:gd name="connsiteY33" fmla="*/ 58979 h 393192"/>
              <a:gd name="connsiteX34" fmla="*/ 530809 w 589788"/>
              <a:gd name="connsiteY34" fmla="*/ 26213 h 393192"/>
              <a:gd name="connsiteX35" fmla="*/ 58979 w 589788"/>
              <a:gd name="connsiteY35" fmla="*/ 26213 h 393192"/>
              <a:gd name="connsiteX36" fmla="*/ 26213 w 589788"/>
              <a:gd name="connsiteY36" fmla="*/ 58979 h 393192"/>
              <a:gd name="connsiteX37" fmla="*/ 26213 w 589788"/>
              <a:gd name="connsiteY37" fmla="*/ 334213 h 393192"/>
              <a:gd name="connsiteX38" fmla="*/ 58979 w 589788"/>
              <a:gd name="connsiteY38" fmla="*/ 366979 h 393192"/>
              <a:gd name="connsiteX39" fmla="*/ 530809 w 589788"/>
              <a:gd name="connsiteY39" fmla="*/ 366979 h 393192"/>
              <a:gd name="connsiteX40" fmla="*/ 563575 w 589788"/>
              <a:gd name="connsiteY40" fmla="*/ 334213 h 393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589788" h="393192">
                <a:moveTo>
                  <a:pt x="390500" y="93154"/>
                </a:moveTo>
                <a:lnTo>
                  <a:pt x="220117" y="315963"/>
                </a:lnTo>
                <a:lnTo>
                  <a:pt x="199290" y="300038"/>
                </a:lnTo>
                <a:lnTo>
                  <a:pt x="369673" y="77229"/>
                </a:lnTo>
                <a:close/>
                <a:moveTo>
                  <a:pt x="190043" y="124505"/>
                </a:moveTo>
                <a:cubicBezTo>
                  <a:pt x="190043" y="99223"/>
                  <a:pt x="210620" y="78640"/>
                  <a:pt x="235909" y="78633"/>
                </a:cubicBezTo>
                <a:cubicBezTo>
                  <a:pt x="261211" y="78639"/>
                  <a:pt x="281788" y="99223"/>
                  <a:pt x="281788" y="124505"/>
                </a:cubicBezTo>
                <a:cubicBezTo>
                  <a:pt x="281788" y="149801"/>
                  <a:pt x="261205" y="170384"/>
                  <a:pt x="235915" y="170384"/>
                </a:cubicBezTo>
                <a:cubicBezTo>
                  <a:pt x="210626" y="170384"/>
                  <a:pt x="190043" y="149801"/>
                  <a:pt x="190043" y="124505"/>
                </a:cubicBezTo>
                <a:close/>
                <a:moveTo>
                  <a:pt x="216256" y="124505"/>
                </a:moveTo>
                <a:cubicBezTo>
                  <a:pt x="216256" y="135344"/>
                  <a:pt x="225076" y="144172"/>
                  <a:pt x="235915" y="144172"/>
                </a:cubicBezTo>
                <a:cubicBezTo>
                  <a:pt x="246754" y="144172"/>
                  <a:pt x="255575" y="135344"/>
                  <a:pt x="255575" y="124505"/>
                </a:cubicBezTo>
                <a:cubicBezTo>
                  <a:pt x="255575" y="113673"/>
                  <a:pt x="246754" y="104852"/>
                  <a:pt x="235909" y="104846"/>
                </a:cubicBezTo>
                <a:cubicBezTo>
                  <a:pt x="225076" y="104852"/>
                  <a:pt x="216256" y="113673"/>
                  <a:pt x="216256" y="124505"/>
                </a:cubicBezTo>
                <a:close/>
                <a:moveTo>
                  <a:pt x="308000" y="268681"/>
                </a:moveTo>
                <a:cubicBezTo>
                  <a:pt x="308000" y="243398"/>
                  <a:pt x="328577" y="222815"/>
                  <a:pt x="353866" y="222809"/>
                </a:cubicBezTo>
                <a:cubicBezTo>
                  <a:pt x="379168" y="222815"/>
                  <a:pt x="399745" y="243398"/>
                  <a:pt x="399745" y="268681"/>
                </a:cubicBezTo>
                <a:cubicBezTo>
                  <a:pt x="399745" y="293977"/>
                  <a:pt x="379162" y="314560"/>
                  <a:pt x="353873" y="314560"/>
                </a:cubicBezTo>
                <a:cubicBezTo>
                  <a:pt x="328583" y="314560"/>
                  <a:pt x="308000" y="293977"/>
                  <a:pt x="308000" y="268681"/>
                </a:cubicBezTo>
                <a:close/>
                <a:moveTo>
                  <a:pt x="334213" y="268681"/>
                </a:moveTo>
                <a:cubicBezTo>
                  <a:pt x="334213" y="279520"/>
                  <a:pt x="343034" y="288347"/>
                  <a:pt x="353873" y="288347"/>
                </a:cubicBezTo>
                <a:cubicBezTo>
                  <a:pt x="364712" y="288347"/>
                  <a:pt x="373532" y="279520"/>
                  <a:pt x="373532" y="268681"/>
                </a:cubicBezTo>
                <a:cubicBezTo>
                  <a:pt x="373532" y="257849"/>
                  <a:pt x="364712" y="249028"/>
                  <a:pt x="353866" y="249022"/>
                </a:cubicBezTo>
                <a:cubicBezTo>
                  <a:pt x="343034" y="249028"/>
                  <a:pt x="334213" y="257849"/>
                  <a:pt x="334213" y="268681"/>
                </a:cubicBezTo>
                <a:close/>
                <a:moveTo>
                  <a:pt x="589788" y="58979"/>
                </a:moveTo>
                <a:lnTo>
                  <a:pt x="589788" y="334213"/>
                </a:lnTo>
                <a:cubicBezTo>
                  <a:pt x="589788" y="366736"/>
                  <a:pt x="563332" y="393192"/>
                  <a:pt x="530809" y="393192"/>
                </a:cubicBezTo>
                <a:lnTo>
                  <a:pt x="58979" y="393192"/>
                </a:lnTo>
                <a:cubicBezTo>
                  <a:pt x="26456" y="393192"/>
                  <a:pt x="0" y="366736"/>
                  <a:pt x="0" y="334213"/>
                </a:cubicBezTo>
                <a:lnTo>
                  <a:pt x="0" y="58979"/>
                </a:lnTo>
                <a:cubicBezTo>
                  <a:pt x="0" y="26456"/>
                  <a:pt x="26456" y="0"/>
                  <a:pt x="58979" y="0"/>
                </a:cubicBezTo>
                <a:lnTo>
                  <a:pt x="530809" y="0"/>
                </a:lnTo>
                <a:cubicBezTo>
                  <a:pt x="563332" y="0"/>
                  <a:pt x="589788" y="26456"/>
                  <a:pt x="589788" y="58979"/>
                </a:cubicBezTo>
                <a:close/>
                <a:moveTo>
                  <a:pt x="563575" y="58979"/>
                </a:moveTo>
                <a:cubicBezTo>
                  <a:pt x="563575" y="40911"/>
                  <a:pt x="548878" y="26213"/>
                  <a:pt x="530809" y="26213"/>
                </a:cubicBezTo>
                <a:lnTo>
                  <a:pt x="58979" y="26213"/>
                </a:lnTo>
                <a:cubicBezTo>
                  <a:pt x="40911" y="26213"/>
                  <a:pt x="26213" y="40911"/>
                  <a:pt x="26213" y="58979"/>
                </a:cubicBezTo>
                <a:lnTo>
                  <a:pt x="26213" y="334213"/>
                </a:lnTo>
                <a:cubicBezTo>
                  <a:pt x="26213" y="352281"/>
                  <a:pt x="40911" y="366979"/>
                  <a:pt x="58979" y="366979"/>
                </a:cubicBezTo>
                <a:lnTo>
                  <a:pt x="530809" y="366979"/>
                </a:lnTo>
                <a:cubicBezTo>
                  <a:pt x="548878" y="366979"/>
                  <a:pt x="563575" y="352281"/>
                  <a:pt x="563575" y="334213"/>
                </a:cubicBezTo>
                <a:close/>
              </a:path>
            </a:pathLst>
          </a:custGeom>
          <a:gradFill>
            <a:gsLst>
              <a:gs pos="0">
                <a:schemeClr val="tx2">
                  <a:lumMod val="86000"/>
                </a:schemeClr>
              </a:gs>
              <a:gs pos="80000">
                <a:schemeClr val="accent5"/>
              </a:gs>
            </a:gsLst>
            <a:lin ang="0" scaled="0"/>
          </a:gradFill>
          <a:ln w="63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0" name="Freeform: Shape 973">
            <a:extLst>
              <a:ext uri="{FF2B5EF4-FFF2-40B4-BE49-F238E27FC236}">
                <a16:creationId xmlns:a16="http://schemas.microsoft.com/office/drawing/2014/main" id="{CA486742-6821-268B-5AC3-980DA33F035A}"/>
              </a:ext>
            </a:extLst>
          </p:cNvPr>
          <p:cNvSpPr/>
          <p:nvPr/>
        </p:nvSpPr>
        <p:spPr>
          <a:xfrm rot="5400000">
            <a:off x="-1210369" y="1701636"/>
            <a:ext cx="4212000" cy="4211266"/>
          </a:xfrm>
          <a:prstGeom prst="blockArc">
            <a:avLst>
              <a:gd name="adj1" fmla="val 10800000"/>
              <a:gd name="adj2" fmla="val 209953"/>
              <a:gd name="adj3" fmla="val 298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160645D-F0CF-2A99-02D3-B8FF4C7EE1F5}"/>
              </a:ext>
            </a:extLst>
          </p:cNvPr>
          <p:cNvSpPr/>
          <p:nvPr/>
        </p:nvSpPr>
        <p:spPr>
          <a:xfrm>
            <a:off x="0" y="1578677"/>
            <a:ext cx="1898427" cy="4457184"/>
          </a:xfrm>
          <a:prstGeom prst="rect">
            <a:avLst/>
          </a:prstGeom>
          <a:gradFill>
            <a:gsLst>
              <a:gs pos="100000">
                <a:schemeClr val="bg1">
                  <a:alpha val="0"/>
                </a:schemeClr>
              </a:gs>
              <a:gs pos="53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9" name="Picture 5" descr="logo_flyingblue-RVB_couleur">
            <a:extLst>
              <a:ext uri="{FF2B5EF4-FFF2-40B4-BE49-F238E27FC236}">
                <a16:creationId xmlns:a16="http://schemas.microsoft.com/office/drawing/2014/main" id="{7CABC775-6454-4A8E-4570-D4BA682160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3078" y="3406565"/>
            <a:ext cx="2509611" cy="702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e 1">
            <a:extLst>
              <a:ext uri="{FF2B5EF4-FFF2-40B4-BE49-F238E27FC236}">
                <a16:creationId xmlns:a16="http://schemas.microsoft.com/office/drawing/2014/main" id="{BE28BE4F-D244-A913-D2E6-795160234281}"/>
              </a:ext>
            </a:extLst>
          </p:cNvPr>
          <p:cNvGrpSpPr/>
          <p:nvPr/>
        </p:nvGrpSpPr>
        <p:grpSpPr>
          <a:xfrm>
            <a:off x="4735115" y="4019265"/>
            <a:ext cx="5323284" cy="298797"/>
            <a:chOff x="4735115" y="4019265"/>
            <a:chExt cx="5323284" cy="298797"/>
          </a:xfrm>
        </p:grpSpPr>
        <p:pic>
          <p:nvPicPr>
            <p:cNvPr id="20" name="Image 56">
              <a:extLst>
                <a:ext uri="{FF2B5EF4-FFF2-40B4-BE49-F238E27FC236}">
                  <a16:creationId xmlns:a16="http://schemas.microsoft.com/office/drawing/2014/main" id="{827F3572-BCB3-74BC-AF2B-6D3245C96D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887" t="37894" r="12202" b="36715"/>
            <a:stretch/>
          </p:blipFill>
          <p:spPr>
            <a:xfrm>
              <a:off x="7551038" y="4070712"/>
              <a:ext cx="932491" cy="195902"/>
            </a:xfrm>
            <a:prstGeom prst="rect">
              <a:avLst/>
            </a:prstGeom>
          </p:spPr>
        </p:pic>
        <p:pic>
          <p:nvPicPr>
            <p:cNvPr id="21" name="Image 59">
              <a:extLst>
                <a:ext uri="{FF2B5EF4-FFF2-40B4-BE49-F238E27FC236}">
                  <a16:creationId xmlns:a16="http://schemas.microsoft.com/office/drawing/2014/main" id="{0E8CB6E7-5B4C-6C87-6A93-3DE6A9BC73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88513" y="4081664"/>
              <a:ext cx="969886" cy="173998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BDA451BA-501F-8C00-B2CB-BCC8E1514E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rightnessContrast brigh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25876" y="4019265"/>
              <a:ext cx="628966" cy="298797"/>
            </a:xfrm>
            <a:prstGeom prst="rect">
              <a:avLst/>
            </a:prstGeom>
          </p:spPr>
        </p:pic>
        <p:pic>
          <p:nvPicPr>
            <p:cNvPr id="23" name="Image 57">
              <a:extLst>
                <a:ext uri="{FF2B5EF4-FFF2-40B4-BE49-F238E27FC236}">
                  <a16:creationId xmlns:a16="http://schemas.microsoft.com/office/drawing/2014/main" id="{D85CA95D-80B7-B8DB-82F3-4D515DAF3A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35115" y="4059888"/>
              <a:ext cx="1028804" cy="217550"/>
            </a:xfrm>
            <a:prstGeom prst="rect">
              <a:avLst/>
            </a:prstGeom>
          </p:spPr>
        </p:pic>
      </p:grpSp>
      <p:pic>
        <p:nvPicPr>
          <p:cNvPr id="2" name="Picture 155">
            <a:extLst>
              <a:ext uri="{FF2B5EF4-FFF2-40B4-BE49-F238E27FC236}">
                <a16:creationId xmlns:a16="http://schemas.microsoft.com/office/drawing/2014/main" id="{578A7C61-17CB-6CA7-6D4D-4692BA18A643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9932" y="2463853"/>
            <a:ext cx="2325702" cy="221668"/>
          </a:xfrm>
          <a:prstGeom prst="rect">
            <a:avLst/>
          </a:prstGeom>
        </p:spPr>
      </p:pic>
      <p:pic>
        <p:nvPicPr>
          <p:cNvPr id="35" name="Image 34" descr="Une image contenant Police, Graphique, graphisme, logo&#10;&#10;Le contenu généré par l’IA peut être incorrect.">
            <a:extLst>
              <a:ext uri="{FF2B5EF4-FFF2-40B4-BE49-F238E27FC236}">
                <a16:creationId xmlns:a16="http://schemas.microsoft.com/office/drawing/2014/main" id="{EDBDE50D-7DE2-F3F4-7FFC-26199F6EF98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1994" y="2237271"/>
            <a:ext cx="2434244" cy="562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490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1D1E250F-1D47-7BAB-1A6D-BC220D7477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6" progId="TCLayout.ActiveDocument.1">
                  <p:embed/>
                </p:oleObj>
              </mc:Choice>
              <mc:Fallback>
                <p:oleObj name="Diapositive think-cell" r:id="rId3" imgW="395" imgH="39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1E250F-1D47-7BAB-1A6D-BC220D7477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F2540E07-9614-D63E-78AC-2AB67826C0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fr-FR" b="1" dirty="0">
                <a:latin typeface="+mn-lt"/>
              </a:rPr>
              <a:t>Air France-KLM continues </a:t>
            </a:r>
            <a:r>
              <a:rPr lang="fr-FR" b="1" dirty="0" err="1">
                <a:latin typeface="+mn-lt"/>
              </a:rPr>
              <a:t>its</a:t>
            </a:r>
            <a:r>
              <a:rPr lang="fr-FR" b="1" dirty="0">
                <a:latin typeface="+mn-lt"/>
              </a:rPr>
              <a:t> transformation effort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D5CDD39-5EA2-B779-0CCD-B37FF2E3B451}"/>
              </a:ext>
            </a:extLst>
          </p:cNvPr>
          <p:cNvSpPr/>
          <p:nvPr/>
        </p:nvSpPr>
        <p:spPr bwMode="gray">
          <a:xfrm>
            <a:off x="681991" y="2090740"/>
            <a:ext cx="2880000" cy="3773486"/>
          </a:xfrm>
          <a:prstGeom prst="rect">
            <a:avLst/>
          </a:prstGeom>
          <a:solidFill>
            <a:srgbClr val="F6F8F9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F1D6E2B-5B2E-EA82-28B9-12592C802160}"/>
              </a:ext>
            </a:extLst>
          </p:cNvPr>
          <p:cNvSpPr/>
          <p:nvPr/>
        </p:nvSpPr>
        <p:spPr bwMode="gray">
          <a:xfrm>
            <a:off x="7882156" y="2090740"/>
            <a:ext cx="4309844" cy="3773486"/>
          </a:xfrm>
          <a:prstGeom prst="rect">
            <a:avLst/>
          </a:prstGeom>
          <a:solidFill>
            <a:srgbClr val="F6F8F9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C6E1E1F-817B-72EF-C749-4FCD6DE574E1}"/>
              </a:ext>
            </a:extLst>
          </p:cNvPr>
          <p:cNvSpPr/>
          <p:nvPr/>
        </p:nvSpPr>
        <p:spPr bwMode="gray">
          <a:xfrm>
            <a:off x="3879427" y="2090740"/>
            <a:ext cx="3671888" cy="3773486"/>
          </a:xfrm>
          <a:prstGeom prst="rect">
            <a:avLst/>
          </a:prstGeom>
          <a:solidFill>
            <a:srgbClr val="F6F8F9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34" name="Isosceles Triangle 7">
            <a:extLst>
              <a:ext uri="{FF2B5EF4-FFF2-40B4-BE49-F238E27FC236}">
                <a16:creationId xmlns:a16="http://schemas.microsoft.com/office/drawing/2014/main" id="{BBBED4EB-223D-F592-20BF-3E1001898CB5}"/>
              </a:ext>
            </a:extLst>
          </p:cNvPr>
          <p:cNvSpPr/>
          <p:nvPr/>
        </p:nvSpPr>
        <p:spPr bwMode="gray">
          <a:xfrm rot="5400000">
            <a:off x="3481694" y="2201048"/>
            <a:ext cx="284163" cy="125413"/>
          </a:xfrm>
          <a:prstGeom prst="triangle">
            <a:avLst/>
          </a:prstGeom>
          <a:solidFill>
            <a:srgbClr val="F6F8F9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107C2E0D-C3AB-4E74-EF6C-016485C4DD94}"/>
              </a:ext>
            </a:extLst>
          </p:cNvPr>
          <p:cNvSpPr txBox="1">
            <a:spLocks/>
          </p:cNvSpPr>
          <p:nvPr/>
        </p:nvSpPr>
        <p:spPr>
          <a:xfrm>
            <a:off x="3902575" y="1678539"/>
            <a:ext cx="3671888" cy="468000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>
            <a:lvl1pPr marL="0" indent="0" algn="l" defTabSz="914354" rtl="0" eaLnBrk="1" latinLnBrk="0" hangingPunct="1">
              <a:lnSpc>
                <a:spcPct val="110000"/>
              </a:lnSpc>
              <a:spcBef>
                <a:spcPts val="1200"/>
              </a:spcBef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…through ambitious roadmap…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293EBA3-569B-BD5F-D324-8EFDA0CA26B1}"/>
              </a:ext>
            </a:extLst>
          </p:cNvPr>
          <p:cNvSpPr/>
          <p:nvPr/>
        </p:nvSpPr>
        <p:spPr bwMode="gray">
          <a:xfrm>
            <a:off x="1821015" y="2569384"/>
            <a:ext cx="2088000" cy="35877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implification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4950371-5D6C-F238-4A13-0D2FD4C60F43}"/>
              </a:ext>
            </a:extLst>
          </p:cNvPr>
          <p:cNvSpPr/>
          <p:nvPr/>
        </p:nvSpPr>
        <p:spPr bwMode="gray">
          <a:xfrm>
            <a:off x="1821015" y="5098272"/>
            <a:ext cx="2088000" cy="35877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st Saving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FA27284-0CDC-6E60-EC8C-76B7DEAB9A11}"/>
              </a:ext>
            </a:extLst>
          </p:cNvPr>
          <p:cNvSpPr/>
          <p:nvPr/>
        </p:nvSpPr>
        <p:spPr bwMode="gray">
          <a:xfrm>
            <a:off x="1821015" y="4253192"/>
            <a:ext cx="1568745" cy="3619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evenues initiativ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5EC1FA5-2AED-69CA-B102-DB5B7461D975}"/>
              </a:ext>
            </a:extLst>
          </p:cNvPr>
          <p:cNvSpPr/>
          <p:nvPr/>
        </p:nvSpPr>
        <p:spPr bwMode="gray">
          <a:xfrm>
            <a:off x="1821015" y="3411288"/>
            <a:ext cx="2088000" cy="35877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ynergies</a:t>
            </a:r>
          </a:p>
        </p:txBody>
      </p:sp>
      <p:sp>
        <p:nvSpPr>
          <p:cNvPr id="40" name="Isosceles Triangle 8">
            <a:extLst>
              <a:ext uri="{FF2B5EF4-FFF2-40B4-BE49-F238E27FC236}">
                <a16:creationId xmlns:a16="http://schemas.microsoft.com/office/drawing/2014/main" id="{9276BF1F-CEB3-CAC5-B177-729FA9221B69}"/>
              </a:ext>
            </a:extLst>
          </p:cNvPr>
          <p:cNvSpPr/>
          <p:nvPr/>
        </p:nvSpPr>
        <p:spPr bwMode="gray">
          <a:xfrm rot="5400000">
            <a:off x="7473473" y="2201048"/>
            <a:ext cx="284163" cy="125413"/>
          </a:xfrm>
          <a:prstGeom prst="triangle">
            <a:avLst/>
          </a:prstGeom>
          <a:solidFill>
            <a:srgbClr val="F6F8F9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B21CD31A-A890-403A-20B5-D3271549E263}"/>
              </a:ext>
            </a:extLst>
          </p:cNvPr>
          <p:cNvSpPr txBox="1">
            <a:spLocks/>
          </p:cNvSpPr>
          <p:nvPr/>
        </p:nvSpPr>
        <p:spPr>
          <a:xfrm>
            <a:off x="681991" y="1678539"/>
            <a:ext cx="2880000" cy="468000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>
            <a:lvl1pPr marL="0" indent="0" algn="l" defTabSz="914354" rtl="0" eaLnBrk="1" latinLnBrk="0" hangingPunct="1">
              <a:lnSpc>
                <a:spcPct val="110000"/>
              </a:lnSpc>
              <a:spcBef>
                <a:spcPts val="1200"/>
              </a:spcBef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ctioning key levers…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40D6DC82-ECC0-34E3-97CF-941671F13477}"/>
              </a:ext>
            </a:extLst>
          </p:cNvPr>
          <p:cNvSpPr txBox="1">
            <a:spLocks/>
          </p:cNvSpPr>
          <p:nvPr/>
        </p:nvSpPr>
        <p:spPr>
          <a:xfrm>
            <a:off x="7735746" y="1678539"/>
            <a:ext cx="4572000" cy="468000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>
            <a:lvl1pPr marL="0" indent="0" algn="l" defTabSz="914354" rtl="0" eaLnBrk="1" latinLnBrk="0" hangingPunct="1">
              <a:lnSpc>
                <a:spcPct val="110000"/>
              </a:lnSpc>
              <a:spcBef>
                <a:spcPts val="1200"/>
              </a:spcBef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00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…to achieve structural benefits</a:t>
            </a:r>
            <a:r>
              <a:rPr kumimoji="0" lang="en-US" sz="1600" b="1" i="0" u="none" strike="noStrike" kern="1200" cap="none" spc="0" normalizeH="0" baseline="3000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</a:t>
            </a:r>
          </a:p>
        </p:txBody>
      </p:sp>
      <p:grpSp>
        <p:nvGrpSpPr>
          <p:cNvPr id="71" name="Groupe 70">
            <a:extLst>
              <a:ext uri="{FF2B5EF4-FFF2-40B4-BE49-F238E27FC236}">
                <a16:creationId xmlns:a16="http://schemas.microsoft.com/office/drawing/2014/main" id="{03987DB9-BA52-178E-161A-36BFCBF36702}"/>
              </a:ext>
            </a:extLst>
          </p:cNvPr>
          <p:cNvGrpSpPr/>
          <p:nvPr/>
        </p:nvGrpSpPr>
        <p:grpSpPr>
          <a:xfrm>
            <a:off x="5784834" y="4110042"/>
            <a:ext cx="1506538" cy="1096963"/>
            <a:chOff x="4493420" y="3403390"/>
            <a:chExt cx="1507843" cy="1096692"/>
          </a:xfrm>
        </p:grpSpPr>
        <p:sp>
          <p:nvSpPr>
            <p:cNvPr id="72" name="Text Placeholder 7">
              <a:extLst>
                <a:ext uri="{FF2B5EF4-FFF2-40B4-BE49-F238E27FC236}">
                  <a16:creationId xmlns:a16="http://schemas.microsoft.com/office/drawing/2014/main" id="{ABD8D24B-8742-34BE-5408-D8E4D189BB21}"/>
                </a:ext>
              </a:extLst>
            </p:cNvPr>
            <p:cNvSpPr txBox="1">
              <a:spLocks/>
            </p:cNvSpPr>
            <p:nvPr/>
          </p:nvSpPr>
          <p:spPr>
            <a:xfrm>
              <a:off x="4493420" y="3613402"/>
              <a:ext cx="1405052" cy="603250"/>
            </a:xfrm>
            <a:prstGeom prst="rect">
              <a:avLst/>
            </a:prstGeom>
          </p:spPr>
          <p:txBody>
            <a:bodyPr vert="horz" lIns="36000" tIns="36000" rIns="36000" bIns="36000" rtlCol="0" anchor="ctr">
              <a:noAutofit/>
            </a:bodyPr>
            <a:lstStyle>
              <a:lvl1pPr marL="0" indent="0" algn="l" defTabSz="914354" rtl="0" eaLnBrk="1" latinLnBrk="0" hangingPunct="1">
                <a:lnSpc>
                  <a:spcPct val="110000"/>
                </a:lnSpc>
                <a:spcBef>
                  <a:spcPts val="1200"/>
                </a:spcBef>
                <a:buFontTx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52000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04000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56000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8000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474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52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29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06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54" rtl="0" eaLnBrk="1" fontAlgn="auto" latinLnBrk="0" hangingPunct="1">
                <a:lnSpc>
                  <a:spcPct val="11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0" i="0" u="none" strike="noStrike" kern="1200" cap="none" spc="0" normalizeH="0" baseline="0" noProof="0">
                  <a:ln>
                    <a:noFill/>
                  </a:ln>
                  <a:solidFill>
                    <a:srgbClr val="009EE3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ALL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9EE3"/>
                </a:solidFill>
                <a:effectLst/>
                <a:uLnTx/>
                <a:uFillTx/>
                <a:latin typeface="Montserrat Light"/>
                <a:ea typeface="+mn-ea"/>
                <a:cs typeface="+mn-cs"/>
              </a:endParaRPr>
            </a:p>
          </p:txBody>
        </p:sp>
        <p:sp>
          <p:nvSpPr>
            <p:cNvPr id="73" name="TextBox 11">
              <a:extLst>
                <a:ext uri="{FF2B5EF4-FFF2-40B4-BE49-F238E27FC236}">
                  <a16:creationId xmlns:a16="http://schemas.microsoft.com/office/drawing/2014/main" id="{F507C855-A09B-0E15-45FA-84CEABA3BDBB}"/>
                </a:ext>
              </a:extLst>
            </p:cNvPr>
            <p:cNvSpPr txBox="1"/>
            <p:nvPr/>
          </p:nvSpPr>
          <p:spPr bwMode="gray">
            <a:xfrm>
              <a:off x="4493420" y="4211935"/>
              <a:ext cx="1507843" cy="288147"/>
            </a:xfrm>
            <a:prstGeom prst="rect">
              <a:avLst/>
            </a:prstGeom>
            <a:noFill/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51039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Business Units</a:t>
              </a:r>
            </a:p>
          </p:txBody>
        </p:sp>
        <p:sp>
          <p:nvSpPr>
            <p:cNvPr id="74" name="TextBox 11">
              <a:extLst>
                <a:ext uri="{FF2B5EF4-FFF2-40B4-BE49-F238E27FC236}">
                  <a16:creationId xmlns:a16="http://schemas.microsoft.com/office/drawing/2014/main" id="{DD504D40-250D-A3DE-51D7-8A3E6B2F385A}"/>
                </a:ext>
              </a:extLst>
            </p:cNvPr>
            <p:cNvSpPr txBox="1"/>
            <p:nvPr/>
          </p:nvSpPr>
          <p:spPr bwMode="gray">
            <a:xfrm>
              <a:off x="4493420" y="3403390"/>
              <a:ext cx="1346200" cy="288147"/>
            </a:xfrm>
            <a:prstGeom prst="rect">
              <a:avLst/>
            </a:prstGeom>
            <a:noFill/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51039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Across</a:t>
              </a:r>
            </a:p>
          </p:txBody>
        </p:sp>
      </p:grpSp>
      <p:cxnSp>
        <p:nvCxnSpPr>
          <p:cNvPr id="75" name="Connecteur droit 74">
            <a:extLst>
              <a:ext uri="{FF2B5EF4-FFF2-40B4-BE49-F238E27FC236}">
                <a16:creationId xmlns:a16="http://schemas.microsoft.com/office/drawing/2014/main" id="{9FA9C691-A79C-65B2-9BC4-C8FCD4D9C57F}"/>
              </a:ext>
            </a:extLst>
          </p:cNvPr>
          <p:cNvCxnSpPr>
            <a:cxnSpLocks/>
          </p:cNvCxnSpPr>
          <p:nvPr/>
        </p:nvCxnSpPr>
        <p:spPr>
          <a:xfrm>
            <a:off x="4137322" y="4658523"/>
            <a:ext cx="1440000" cy="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6" name="Groupe 75">
            <a:extLst>
              <a:ext uri="{FF2B5EF4-FFF2-40B4-BE49-F238E27FC236}">
                <a16:creationId xmlns:a16="http://schemas.microsoft.com/office/drawing/2014/main" id="{C0D71BC3-8741-0A4A-DE9D-0C621E9F5149}"/>
              </a:ext>
            </a:extLst>
          </p:cNvPr>
          <p:cNvGrpSpPr/>
          <p:nvPr/>
        </p:nvGrpSpPr>
        <p:grpSpPr>
          <a:xfrm>
            <a:off x="4099220" y="2572020"/>
            <a:ext cx="2522537" cy="885825"/>
            <a:chOff x="3686927" y="2379335"/>
            <a:chExt cx="2521033" cy="886680"/>
          </a:xfrm>
        </p:grpSpPr>
        <p:sp>
          <p:nvSpPr>
            <p:cNvPr id="77" name="Text Placeholder 7">
              <a:extLst>
                <a:ext uri="{FF2B5EF4-FFF2-40B4-BE49-F238E27FC236}">
                  <a16:creationId xmlns:a16="http://schemas.microsoft.com/office/drawing/2014/main" id="{AD405FB2-3E97-CD93-80C7-AF98DC21C15D}"/>
                </a:ext>
              </a:extLst>
            </p:cNvPr>
            <p:cNvSpPr txBox="1">
              <a:spLocks/>
            </p:cNvSpPr>
            <p:nvPr/>
          </p:nvSpPr>
          <p:spPr>
            <a:xfrm>
              <a:off x="3686927" y="2379335"/>
              <a:ext cx="1836738" cy="603250"/>
            </a:xfrm>
            <a:prstGeom prst="rect">
              <a:avLst/>
            </a:prstGeom>
          </p:spPr>
          <p:txBody>
            <a:bodyPr vert="horz" lIns="36000" tIns="36000" rIns="36000" bIns="36000" rtlCol="0" anchor="ctr">
              <a:noAutofit/>
            </a:bodyPr>
            <a:lstStyle>
              <a:lvl1pPr marL="0" indent="0" algn="l" defTabSz="914354" rtl="0" eaLnBrk="1" latinLnBrk="0" hangingPunct="1">
                <a:lnSpc>
                  <a:spcPct val="110000"/>
                </a:lnSpc>
                <a:spcBef>
                  <a:spcPts val="1200"/>
                </a:spcBef>
                <a:buFontTx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52000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04000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56000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8000" indent="0" algn="l" defTabSz="914354" rtl="0" eaLnBrk="1" latinLnBrk="0" hangingPunct="1">
                <a:lnSpc>
                  <a:spcPct val="100000"/>
                </a:lnSpc>
                <a:spcBef>
                  <a:spcPts val="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474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52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29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06" indent="-228589" algn="l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54" rtl="0" eaLnBrk="1" fontAlgn="auto" latinLnBrk="0" hangingPunct="1">
                <a:lnSpc>
                  <a:spcPct val="11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0" i="0" u="none" strike="noStrike" kern="1200" cap="none" spc="0" normalizeH="0" baseline="0" noProof="0">
                  <a:ln>
                    <a:noFill/>
                  </a:ln>
                  <a:solidFill>
                    <a:srgbClr val="009EE3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700+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9EE3"/>
                </a:solidFill>
                <a:effectLst/>
                <a:uLnTx/>
                <a:uFillTx/>
                <a:latin typeface="Montserrat Light"/>
                <a:ea typeface="+mn-ea"/>
                <a:cs typeface="+mn-cs"/>
              </a:endParaRPr>
            </a:p>
          </p:txBody>
        </p:sp>
        <p:sp>
          <p:nvSpPr>
            <p:cNvPr id="78" name="TextBox 11">
              <a:extLst>
                <a:ext uri="{FF2B5EF4-FFF2-40B4-BE49-F238E27FC236}">
                  <a16:creationId xmlns:a16="http://schemas.microsoft.com/office/drawing/2014/main" id="{7F6E605D-8067-3513-8539-F2E2E78F628F}"/>
                </a:ext>
              </a:extLst>
            </p:cNvPr>
            <p:cNvSpPr txBox="1"/>
            <p:nvPr/>
          </p:nvSpPr>
          <p:spPr bwMode="gray">
            <a:xfrm>
              <a:off x="3686927" y="2977868"/>
              <a:ext cx="2521033" cy="288147"/>
            </a:xfrm>
            <a:prstGeom prst="rect">
              <a:avLst/>
            </a:prstGeom>
            <a:noFill/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51039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Initiatives &amp; Projects</a:t>
              </a:r>
            </a:p>
          </p:txBody>
        </p:sp>
      </p:grpSp>
      <p:cxnSp>
        <p:nvCxnSpPr>
          <p:cNvPr id="79" name="Connecteur droit 78">
            <a:extLst>
              <a:ext uri="{FF2B5EF4-FFF2-40B4-BE49-F238E27FC236}">
                <a16:creationId xmlns:a16="http://schemas.microsoft.com/office/drawing/2014/main" id="{6A2E2793-EF03-0DC9-392B-7815DFA4FC2F}"/>
              </a:ext>
            </a:extLst>
          </p:cNvPr>
          <p:cNvCxnSpPr>
            <a:cxnSpLocks/>
          </p:cNvCxnSpPr>
          <p:nvPr/>
        </p:nvCxnSpPr>
        <p:spPr>
          <a:xfrm>
            <a:off x="5851509" y="2875232"/>
            <a:ext cx="1439863" cy="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6" name="Graphique 85">
            <a:extLst>
              <a:ext uri="{FF2B5EF4-FFF2-40B4-BE49-F238E27FC236}">
                <a16:creationId xmlns:a16="http://schemas.microsoft.com/office/drawing/2014/main" id="{51B5450F-8496-4088-C0B2-4E3F1057A37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4651" y="3401021"/>
            <a:ext cx="651602" cy="403886"/>
          </a:xfrm>
          <a:prstGeom prst="rect">
            <a:avLst/>
          </a:prstGeom>
        </p:spPr>
      </p:pic>
      <p:grpSp>
        <p:nvGrpSpPr>
          <p:cNvPr id="87" name="Graphique 68">
            <a:extLst>
              <a:ext uri="{FF2B5EF4-FFF2-40B4-BE49-F238E27FC236}">
                <a16:creationId xmlns:a16="http://schemas.microsoft.com/office/drawing/2014/main" id="{6129AB7D-A386-A6F1-1CB7-15986E4F1844}"/>
              </a:ext>
            </a:extLst>
          </p:cNvPr>
          <p:cNvGrpSpPr/>
          <p:nvPr/>
        </p:nvGrpSpPr>
        <p:grpSpPr>
          <a:xfrm>
            <a:off x="971588" y="2510536"/>
            <a:ext cx="427984" cy="443426"/>
            <a:chOff x="340884" y="2343594"/>
            <a:chExt cx="574187" cy="594901"/>
          </a:xfr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</p:grpSpPr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1AEE29BD-E243-11C2-FEA5-0D2EB389ACA9}"/>
                </a:ext>
              </a:extLst>
            </p:cNvPr>
            <p:cNvSpPr/>
            <p:nvPr/>
          </p:nvSpPr>
          <p:spPr>
            <a:xfrm>
              <a:off x="464957" y="2343594"/>
              <a:ext cx="345097" cy="301593"/>
            </a:xfrm>
            <a:custGeom>
              <a:avLst/>
              <a:gdLst>
                <a:gd name="connsiteX0" fmla="*/ 332460 w 345097"/>
                <a:gd name="connsiteY0" fmla="*/ 301594 h 301593"/>
                <a:gd name="connsiteX1" fmla="*/ 12638 w 345097"/>
                <a:gd name="connsiteY1" fmla="*/ 301594 h 301593"/>
                <a:gd name="connsiteX2" fmla="*/ 1865 w 345097"/>
                <a:gd name="connsiteY2" fmla="*/ 294964 h 301593"/>
                <a:gd name="connsiteX3" fmla="*/ 1865 w 345097"/>
                <a:gd name="connsiteY3" fmla="*/ 282536 h 301593"/>
                <a:gd name="connsiteX4" fmla="*/ 161776 w 345097"/>
                <a:gd name="connsiteY4" fmla="*/ 5799 h 301593"/>
                <a:gd name="connsiteX5" fmla="*/ 172549 w 345097"/>
                <a:gd name="connsiteY5" fmla="*/ 0 h 301593"/>
                <a:gd name="connsiteX6" fmla="*/ 183321 w 345097"/>
                <a:gd name="connsiteY6" fmla="*/ 5799 h 301593"/>
                <a:gd name="connsiteX7" fmla="*/ 343232 w 345097"/>
                <a:gd name="connsiteY7" fmla="*/ 282536 h 301593"/>
                <a:gd name="connsiteX8" fmla="*/ 343232 w 345097"/>
                <a:gd name="connsiteY8" fmla="*/ 294964 h 301593"/>
                <a:gd name="connsiteX9" fmla="*/ 332458 w 345097"/>
                <a:gd name="connsiteY9" fmla="*/ 301594 h 301593"/>
                <a:gd name="connsiteX10" fmla="*/ 34180 w 345097"/>
                <a:gd name="connsiteY10" fmla="*/ 276737 h 301593"/>
                <a:gd name="connsiteX11" fmla="*/ 310917 w 345097"/>
                <a:gd name="connsiteY11" fmla="*/ 276737 h 301593"/>
                <a:gd name="connsiteX12" fmla="*/ 172549 w 345097"/>
                <a:gd name="connsiteY12" fmla="*/ 37285 h 301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5097" h="301593">
                  <a:moveTo>
                    <a:pt x="332460" y="301594"/>
                  </a:moveTo>
                  <a:lnTo>
                    <a:pt x="12638" y="301594"/>
                  </a:lnTo>
                  <a:cubicBezTo>
                    <a:pt x="8495" y="301594"/>
                    <a:pt x="4352" y="299107"/>
                    <a:pt x="1865" y="294964"/>
                  </a:cubicBezTo>
                  <a:cubicBezTo>
                    <a:pt x="-622" y="290821"/>
                    <a:pt x="-622" y="286678"/>
                    <a:pt x="1865" y="282536"/>
                  </a:cubicBezTo>
                  <a:lnTo>
                    <a:pt x="161776" y="5799"/>
                  </a:lnTo>
                  <a:cubicBezTo>
                    <a:pt x="164263" y="1656"/>
                    <a:pt x="168406" y="0"/>
                    <a:pt x="172549" y="0"/>
                  </a:cubicBezTo>
                  <a:cubicBezTo>
                    <a:pt x="176692" y="0"/>
                    <a:pt x="180834" y="2487"/>
                    <a:pt x="183321" y="5799"/>
                  </a:cubicBezTo>
                  <a:lnTo>
                    <a:pt x="343232" y="282536"/>
                  </a:lnTo>
                  <a:cubicBezTo>
                    <a:pt x="345719" y="286678"/>
                    <a:pt x="345719" y="290821"/>
                    <a:pt x="343232" y="294964"/>
                  </a:cubicBezTo>
                  <a:cubicBezTo>
                    <a:pt x="340743" y="299107"/>
                    <a:pt x="336600" y="301594"/>
                    <a:pt x="332458" y="301594"/>
                  </a:cubicBezTo>
                  <a:close/>
                  <a:moveTo>
                    <a:pt x="34180" y="276737"/>
                  </a:moveTo>
                  <a:lnTo>
                    <a:pt x="310917" y="276737"/>
                  </a:lnTo>
                  <a:lnTo>
                    <a:pt x="172549" y="37285"/>
                  </a:lnTo>
                  <a:close/>
                </a:path>
              </a:pathLst>
            </a:custGeom>
            <a:grpFill/>
            <a:ln w="6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8743A246-822E-B153-7B3D-CD936FF699E3}"/>
                </a:ext>
              </a:extLst>
            </p:cNvPr>
            <p:cNvSpPr/>
            <p:nvPr/>
          </p:nvSpPr>
          <p:spPr>
            <a:xfrm>
              <a:off x="640820" y="2664244"/>
              <a:ext cx="274251" cy="274251"/>
            </a:xfrm>
            <a:custGeom>
              <a:avLst/>
              <a:gdLst>
                <a:gd name="connsiteX0" fmla="*/ 261823 w 274251"/>
                <a:gd name="connsiteY0" fmla="*/ 274251 h 274251"/>
                <a:gd name="connsiteX1" fmla="*/ 12428 w 274251"/>
                <a:gd name="connsiteY1" fmla="*/ 274251 h 274251"/>
                <a:gd name="connsiteX2" fmla="*/ 0 w 274251"/>
                <a:gd name="connsiteY2" fmla="*/ 261823 h 274251"/>
                <a:gd name="connsiteX3" fmla="*/ 0 w 274251"/>
                <a:gd name="connsiteY3" fmla="*/ 12428 h 274251"/>
                <a:gd name="connsiteX4" fmla="*/ 12428 w 274251"/>
                <a:gd name="connsiteY4" fmla="*/ 0 h 274251"/>
                <a:gd name="connsiteX5" fmla="*/ 261823 w 274251"/>
                <a:gd name="connsiteY5" fmla="*/ 0 h 274251"/>
                <a:gd name="connsiteX6" fmla="*/ 274251 w 274251"/>
                <a:gd name="connsiteY6" fmla="*/ 12428 h 274251"/>
                <a:gd name="connsiteX7" fmla="*/ 274251 w 274251"/>
                <a:gd name="connsiteY7" fmla="*/ 261823 h 274251"/>
                <a:gd name="connsiteX8" fmla="*/ 261823 w 274251"/>
                <a:gd name="connsiteY8" fmla="*/ 274251 h 274251"/>
                <a:gd name="connsiteX9" fmla="*/ 24857 w 274251"/>
                <a:gd name="connsiteY9" fmla="*/ 249395 h 274251"/>
                <a:gd name="connsiteX10" fmla="*/ 249395 w 274251"/>
                <a:gd name="connsiteY10" fmla="*/ 249395 h 274251"/>
                <a:gd name="connsiteX11" fmla="*/ 249395 w 274251"/>
                <a:gd name="connsiteY11" fmla="*/ 24857 h 274251"/>
                <a:gd name="connsiteX12" fmla="*/ 24857 w 274251"/>
                <a:gd name="connsiteY12" fmla="*/ 24857 h 274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4251" h="274251">
                  <a:moveTo>
                    <a:pt x="261823" y="274251"/>
                  </a:moveTo>
                  <a:lnTo>
                    <a:pt x="12428" y="274251"/>
                  </a:lnTo>
                  <a:cubicBezTo>
                    <a:pt x="5799" y="274251"/>
                    <a:pt x="0" y="268452"/>
                    <a:pt x="0" y="261823"/>
                  </a:cubicBezTo>
                  <a:lnTo>
                    <a:pt x="0" y="12428"/>
                  </a:lnTo>
                  <a:cubicBezTo>
                    <a:pt x="0" y="5799"/>
                    <a:pt x="5799" y="0"/>
                    <a:pt x="12428" y="0"/>
                  </a:cubicBezTo>
                  <a:lnTo>
                    <a:pt x="261823" y="0"/>
                  </a:lnTo>
                  <a:cubicBezTo>
                    <a:pt x="268453" y="0"/>
                    <a:pt x="274251" y="5799"/>
                    <a:pt x="274251" y="12428"/>
                  </a:cubicBezTo>
                  <a:lnTo>
                    <a:pt x="274251" y="261823"/>
                  </a:lnTo>
                  <a:cubicBezTo>
                    <a:pt x="274251" y="268452"/>
                    <a:pt x="268450" y="274251"/>
                    <a:pt x="261823" y="274251"/>
                  </a:cubicBezTo>
                  <a:close/>
                  <a:moveTo>
                    <a:pt x="24857" y="249395"/>
                  </a:moveTo>
                  <a:lnTo>
                    <a:pt x="249395" y="249395"/>
                  </a:lnTo>
                  <a:lnTo>
                    <a:pt x="249395" y="24857"/>
                  </a:lnTo>
                  <a:lnTo>
                    <a:pt x="24857" y="24857"/>
                  </a:lnTo>
                  <a:close/>
                </a:path>
              </a:pathLst>
            </a:custGeom>
            <a:grpFill/>
            <a:ln w="6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E2493231-6179-2FA1-529E-691C3FFE1E8A}"/>
                </a:ext>
              </a:extLst>
            </p:cNvPr>
            <p:cNvSpPr/>
            <p:nvPr/>
          </p:nvSpPr>
          <p:spPr>
            <a:xfrm>
              <a:off x="340884" y="2664244"/>
              <a:ext cx="273422" cy="273422"/>
            </a:xfrm>
            <a:custGeom>
              <a:avLst/>
              <a:gdLst>
                <a:gd name="connsiteX0" fmla="*/ 136711 w 273422"/>
                <a:gd name="connsiteY0" fmla="*/ 273423 h 273422"/>
                <a:gd name="connsiteX1" fmla="*/ 0 w 273422"/>
                <a:gd name="connsiteY1" fmla="*/ 136711 h 273422"/>
                <a:gd name="connsiteX2" fmla="*/ 136711 w 273422"/>
                <a:gd name="connsiteY2" fmla="*/ 0 h 273422"/>
                <a:gd name="connsiteX3" fmla="*/ 273423 w 273422"/>
                <a:gd name="connsiteY3" fmla="*/ 136711 h 273422"/>
                <a:gd name="connsiteX4" fmla="*/ 136711 w 273422"/>
                <a:gd name="connsiteY4" fmla="*/ 273423 h 273422"/>
                <a:gd name="connsiteX5" fmla="*/ 136711 w 273422"/>
                <a:gd name="connsiteY5" fmla="*/ 24857 h 273422"/>
                <a:gd name="connsiteX6" fmla="*/ 24857 w 273422"/>
                <a:gd name="connsiteY6" fmla="*/ 136711 h 273422"/>
                <a:gd name="connsiteX7" fmla="*/ 136711 w 273422"/>
                <a:gd name="connsiteY7" fmla="*/ 248566 h 273422"/>
                <a:gd name="connsiteX8" fmla="*/ 248566 w 273422"/>
                <a:gd name="connsiteY8" fmla="*/ 136711 h 273422"/>
                <a:gd name="connsiteX9" fmla="*/ 136711 w 273422"/>
                <a:gd name="connsiteY9" fmla="*/ 24857 h 273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3422" h="273422">
                  <a:moveTo>
                    <a:pt x="136711" y="273423"/>
                  </a:moveTo>
                  <a:cubicBezTo>
                    <a:pt x="61313" y="273423"/>
                    <a:pt x="0" y="212109"/>
                    <a:pt x="0" y="136711"/>
                  </a:cubicBezTo>
                  <a:cubicBezTo>
                    <a:pt x="0" y="61313"/>
                    <a:pt x="61314" y="0"/>
                    <a:pt x="136711" y="0"/>
                  </a:cubicBezTo>
                  <a:cubicBezTo>
                    <a:pt x="212109" y="0"/>
                    <a:pt x="273423" y="61314"/>
                    <a:pt x="273423" y="136711"/>
                  </a:cubicBezTo>
                  <a:cubicBezTo>
                    <a:pt x="273423" y="212110"/>
                    <a:pt x="212109" y="273423"/>
                    <a:pt x="136711" y="273423"/>
                  </a:cubicBezTo>
                  <a:close/>
                  <a:moveTo>
                    <a:pt x="136711" y="24857"/>
                  </a:moveTo>
                  <a:cubicBezTo>
                    <a:pt x="75398" y="24857"/>
                    <a:pt x="24857" y="75398"/>
                    <a:pt x="24857" y="136711"/>
                  </a:cubicBezTo>
                  <a:cubicBezTo>
                    <a:pt x="24857" y="198025"/>
                    <a:pt x="75398" y="248566"/>
                    <a:pt x="136711" y="248566"/>
                  </a:cubicBezTo>
                  <a:cubicBezTo>
                    <a:pt x="198025" y="248566"/>
                    <a:pt x="248566" y="198025"/>
                    <a:pt x="248566" y="136711"/>
                  </a:cubicBezTo>
                  <a:cubicBezTo>
                    <a:pt x="248566" y="75398"/>
                    <a:pt x="198025" y="24857"/>
                    <a:pt x="136711" y="24857"/>
                  </a:cubicBezTo>
                  <a:close/>
                </a:path>
              </a:pathLst>
            </a:custGeom>
            <a:grpFill/>
            <a:ln w="6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grpSp>
        <p:nvGrpSpPr>
          <p:cNvPr id="91" name="Graphique 74">
            <a:extLst>
              <a:ext uri="{FF2B5EF4-FFF2-40B4-BE49-F238E27FC236}">
                <a16:creationId xmlns:a16="http://schemas.microsoft.com/office/drawing/2014/main" id="{3F12375C-AF97-C01E-0D80-8EEF0F9DF951}"/>
              </a:ext>
            </a:extLst>
          </p:cNvPr>
          <p:cNvGrpSpPr/>
          <p:nvPr/>
        </p:nvGrpSpPr>
        <p:grpSpPr>
          <a:xfrm>
            <a:off x="907633" y="4264466"/>
            <a:ext cx="595466" cy="358710"/>
            <a:chOff x="-343646" y="4015513"/>
            <a:chExt cx="1248221" cy="751935"/>
          </a:xfr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</p:grpSpPr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8141EFB9-D737-6773-7C4C-352361700665}"/>
                </a:ext>
              </a:extLst>
            </p:cNvPr>
            <p:cNvSpPr/>
            <p:nvPr/>
          </p:nvSpPr>
          <p:spPr>
            <a:xfrm>
              <a:off x="-148179" y="4346363"/>
              <a:ext cx="150386" cy="150386"/>
            </a:xfrm>
            <a:custGeom>
              <a:avLst/>
              <a:gdLst>
                <a:gd name="connsiteX0" fmla="*/ 75193 w 150386"/>
                <a:gd name="connsiteY0" fmla="*/ 150386 h 150386"/>
                <a:gd name="connsiteX1" fmla="*/ 0 w 150386"/>
                <a:gd name="connsiteY1" fmla="*/ 75193 h 150386"/>
                <a:gd name="connsiteX2" fmla="*/ 75193 w 150386"/>
                <a:gd name="connsiteY2" fmla="*/ 0 h 150386"/>
                <a:gd name="connsiteX3" fmla="*/ 150386 w 150386"/>
                <a:gd name="connsiteY3" fmla="*/ 75193 h 150386"/>
                <a:gd name="connsiteX4" fmla="*/ 75193 w 150386"/>
                <a:gd name="connsiteY4" fmla="*/ 150386 h 150386"/>
                <a:gd name="connsiteX5" fmla="*/ 75193 w 150386"/>
                <a:gd name="connsiteY5" fmla="*/ 30077 h 150386"/>
                <a:gd name="connsiteX6" fmla="*/ 30077 w 150386"/>
                <a:gd name="connsiteY6" fmla="*/ 75193 h 150386"/>
                <a:gd name="connsiteX7" fmla="*/ 75193 w 150386"/>
                <a:gd name="connsiteY7" fmla="*/ 120309 h 150386"/>
                <a:gd name="connsiteX8" fmla="*/ 120309 w 150386"/>
                <a:gd name="connsiteY8" fmla="*/ 75193 h 150386"/>
                <a:gd name="connsiteX9" fmla="*/ 75193 w 150386"/>
                <a:gd name="connsiteY9" fmla="*/ 30077 h 15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0386" h="150386">
                  <a:moveTo>
                    <a:pt x="75193" y="150386"/>
                  </a:moveTo>
                  <a:cubicBezTo>
                    <a:pt x="33729" y="150386"/>
                    <a:pt x="0" y="116657"/>
                    <a:pt x="0" y="75193"/>
                  </a:cubicBezTo>
                  <a:cubicBezTo>
                    <a:pt x="0" y="33729"/>
                    <a:pt x="33729" y="0"/>
                    <a:pt x="75193" y="0"/>
                  </a:cubicBezTo>
                  <a:cubicBezTo>
                    <a:pt x="116657" y="0"/>
                    <a:pt x="150386" y="33729"/>
                    <a:pt x="150386" y="75193"/>
                  </a:cubicBezTo>
                  <a:cubicBezTo>
                    <a:pt x="150386" y="116657"/>
                    <a:pt x="116657" y="150386"/>
                    <a:pt x="75193" y="150386"/>
                  </a:cubicBezTo>
                  <a:close/>
                  <a:moveTo>
                    <a:pt x="75193" y="30077"/>
                  </a:moveTo>
                  <a:cubicBezTo>
                    <a:pt x="50319" y="30077"/>
                    <a:pt x="30077" y="50319"/>
                    <a:pt x="30077" y="75193"/>
                  </a:cubicBezTo>
                  <a:cubicBezTo>
                    <a:pt x="30077" y="100067"/>
                    <a:pt x="50319" y="120309"/>
                    <a:pt x="75193" y="120309"/>
                  </a:cubicBezTo>
                  <a:cubicBezTo>
                    <a:pt x="100067" y="120309"/>
                    <a:pt x="120309" y="100067"/>
                    <a:pt x="120309" y="75193"/>
                  </a:cubicBezTo>
                  <a:cubicBezTo>
                    <a:pt x="120309" y="50319"/>
                    <a:pt x="100067" y="30077"/>
                    <a:pt x="75193" y="30077"/>
                  </a:cubicBezTo>
                  <a:close/>
                </a:path>
              </a:pathLst>
            </a:custGeom>
            <a:grpFill/>
            <a:ln w="124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4F4DDAE3-459C-242E-1D5D-1E4995834231}"/>
                </a:ext>
              </a:extLst>
            </p:cNvPr>
            <p:cNvSpPr/>
            <p:nvPr/>
          </p:nvSpPr>
          <p:spPr>
            <a:xfrm>
              <a:off x="558636" y="4346363"/>
              <a:ext cx="150386" cy="150386"/>
            </a:xfrm>
            <a:custGeom>
              <a:avLst/>
              <a:gdLst>
                <a:gd name="connsiteX0" fmla="*/ 75193 w 150386"/>
                <a:gd name="connsiteY0" fmla="*/ 150386 h 150386"/>
                <a:gd name="connsiteX1" fmla="*/ 0 w 150386"/>
                <a:gd name="connsiteY1" fmla="*/ 75193 h 150386"/>
                <a:gd name="connsiteX2" fmla="*/ 75193 w 150386"/>
                <a:gd name="connsiteY2" fmla="*/ 0 h 150386"/>
                <a:gd name="connsiteX3" fmla="*/ 150386 w 150386"/>
                <a:gd name="connsiteY3" fmla="*/ 75193 h 150386"/>
                <a:gd name="connsiteX4" fmla="*/ 75193 w 150386"/>
                <a:gd name="connsiteY4" fmla="*/ 150386 h 150386"/>
                <a:gd name="connsiteX5" fmla="*/ 75193 w 150386"/>
                <a:gd name="connsiteY5" fmla="*/ 30077 h 150386"/>
                <a:gd name="connsiteX6" fmla="*/ 30077 w 150386"/>
                <a:gd name="connsiteY6" fmla="*/ 75193 h 150386"/>
                <a:gd name="connsiteX7" fmla="*/ 75193 w 150386"/>
                <a:gd name="connsiteY7" fmla="*/ 120309 h 150386"/>
                <a:gd name="connsiteX8" fmla="*/ 120309 w 150386"/>
                <a:gd name="connsiteY8" fmla="*/ 75193 h 150386"/>
                <a:gd name="connsiteX9" fmla="*/ 75193 w 150386"/>
                <a:gd name="connsiteY9" fmla="*/ 30077 h 15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0386" h="150386">
                  <a:moveTo>
                    <a:pt x="75193" y="150386"/>
                  </a:moveTo>
                  <a:cubicBezTo>
                    <a:pt x="33729" y="150386"/>
                    <a:pt x="0" y="116657"/>
                    <a:pt x="0" y="75193"/>
                  </a:cubicBezTo>
                  <a:cubicBezTo>
                    <a:pt x="0" y="33729"/>
                    <a:pt x="33729" y="0"/>
                    <a:pt x="75193" y="0"/>
                  </a:cubicBezTo>
                  <a:cubicBezTo>
                    <a:pt x="116657" y="0"/>
                    <a:pt x="150386" y="33729"/>
                    <a:pt x="150386" y="75193"/>
                  </a:cubicBezTo>
                  <a:cubicBezTo>
                    <a:pt x="150386" y="116657"/>
                    <a:pt x="116657" y="150386"/>
                    <a:pt x="75193" y="150386"/>
                  </a:cubicBezTo>
                  <a:close/>
                  <a:moveTo>
                    <a:pt x="75193" y="30077"/>
                  </a:moveTo>
                  <a:cubicBezTo>
                    <a:pt x="50319" y="30077"/>
                    <a:pt x="30077" y="50319"/>
                    <a:pt x="30077" y="75193"/>
                  </a:cubicBezTo>
                  <a:cubicBezTo>
                    <a:pt x="30077" y="100067"/>
                    <a:pt x="50319" y="120309"/>
                    <a:pt x="75193" y="120309"/>
                  </a:cubicBezTo>
                  <a:cubicBezTo>
                    <a:pt x="100067" y="120309"/>
                    <a:pt x="120309" y="100067"/>
                    <a:pt x="120309" y="75193"/>
                  </a:cubicBezTo>
                  <a:cubicBezTo>
                    <a:pt x="120309" y="50319"/>
                    <a:pt x="100067" y="30077"/>
                    <a:pt x="75193" y="30077"/>
                  </a:cubicBezTo>
                  <a:close/>
                </a:path>
              </a:pathLst>
            </a:custGeom>
            <a:grpFill/>
            <a:ln w="124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99C1549B-B900-A8BE-7F07-052C42E6F3AC}"/>
                </a:ext>
              </a:extLst>
            </p:cNvPr>
            <p:cNvSpPr/>
            <p:nvPr/>
          </p:nvSpPr>
          <p:spPr>
            <a:xfrm>
              <a:off x="-343646" y="4015513"/>
              <a:ext cx="1248221" cy="751935"/>
            </a:xfrm>
            <a:custGeom>
              <a:avLst/>
              <a:gdLst>
                <a:gd name="connsiteX0" fmla="*/ 1240527 w 1248221"/>
                <a:gd name="connsiteY0" fmla="*/ 60155 h 751935"/>
                <a:gd name="connsiteX1" fmla="*/ 1248221 w 1248221"/>
                <a:gd name="connsiteY1" fmla="*/ 52635 h 751935"/>
                <a:gd name="connsiteX2" fmla="*/ 1248221 w 1248221"/>
                <a:gd name="connsiteY2" fmla="*/ 37597 h 751935"/>
                <a:gd name="connsiteX3" fmla="*/ 1240527 w 1248221"/>
                <a:gd name="connsiteY3" fmla="*/ 30077 h 751935"/>
                <a:gd name="connsiteX4" fmla="*/ 706831 w 1248221"/>
                <a:gd name="connsiteY4" fmla="*/ 30077 h 751935"/>
                <a:gd name="connsiteX5" fmla="*/ 676753 w 1248221"/>
                <a:gd name="connsiteY5" fmla="*/ 0 h 751935"/>
                <a:gd name="connsiteX6" fmla="*/ 571483 w 1248221"/>
                <a:gd name="connsiteY6" fmla="*/ 0 h 751935"/>
                <a:gd name="connsiteX7" fmla="*/ 541406 w 1248221"/>
                <a:gd name="connsiteY7" fmla="*/ 30077 h 751935"/>
                <a:gd name="connsiteX8" fmla="*/ 7735 w 1248221"/>
                <a:gd name="connsiteY8" fmla="*/ 30077 h 751935"/>
                <a:gd name="connsiteX9" fmla="*/ 20 w 1248221"/>
                <a:gd name="connsiteY9" fmla="*/ 37597 h 751935"/>
                <a:gd name="connsiteX10" fmla="*/ 20 w 1248221"/>
                <a:gd name="connsiteY10" fmla="*/ 52635 h 751935"/>
                <a:gd name="connsiteX11" fmla="*/ 7720 w 1248221"/>
                <a:gd name="connsiteY11" fmla="*/ 60155 h 751935"/>
                <a:gd name="connsiteX12" fmla="*/ 541391 w 1248221"/>
                <a:gd name="connsiteY12" fmla="*/ 60155 h 751935"/>
                <a:gd name="connsiteX13" fmla="*/ 541391 w 1248221"/>
                <a:gd name="connsiteY13" fmla="*/ 90232 h 751935"/>
                <a:gd name="connsiteX14" fmla="*/ 30077 w 1248221"/>
                <a:gd name="connsiteY14" fmla="*/ 90232 h 751935"/>
                <a:gd name="connsiteX15" fmla="*/ 0 w 1248221"/>
                <a:gd name="connsiteY15" fmla="*/ 120309 h 751935"/>
                <a:gd name="connsiteX16" fmla="*/ 0 w 1248221"/>
                <a:gd name="connsiteY16" fmla="*/ 695286 h 751935"/>
                <a:gd name="connsiteX17" fmla="*/ 30077 w 1248221"/>
                <a:gd name="connsiteY17" fmla="*/ 725363 h 751935"/>
                <a:gd name="connsiteX18" fmla="*/ 541754 w 1248221"/>
                <a:gd name="connsiteY18" fmla="*/ 725363 h 751935"/>
                <a:gd name="connsiteX19" fmla="*/ 571484 w 1248221"/>
                <a:gd name="connsiteY19" fmla="*/ 751935 h 751935"/>
                <a:gd name="connsiteX20" fmla="*/ 676755 w 1248221"/>
                <a:gd name="connsiteY20" fmla="*/ 751935 h 751935"/>
                <a:gd name="connsiteX21" fmla="*/ 706470 w 1248221"/>
                <a:gd name="connsiteY21" fmla="*/ 725363 h 751935"/>
                <a:gd name="connsiteX22" fmla="*/ 1218144 w 1248221"/>
                <a:gd name="connsiteY22" fmla="*/ 725363 h 751935"/>
                <a:gd name="connsiteX23" fmla="*/ 1248221 w 1248221"/>
                <a:gd name="connsiteY23" fmla="*/ 695286 h 751935"/>
                <a:gd name="connsiteX24" fmla="*/ 1248221 w 1248221"/>
                <a:gd name="connsiteY24" fmla="*/ 120309 h 751935"/>
                <a:gd name="connsiteX25" fmla="*/ 1218144 w 1248221"/>
                <a:gd name="connsiteY25" fmla="*/ 90232 h 751935"/>
                <a:gd name="connsiteX26" fmla="*/ 706833 w 1248221"/>
                <a:gd name="connsiteY26" fmla="*/ 90232 h 751935"/>
                <a:gd name="connsiteX27" fmla="*/ 706833 w 1248221"/>
                <a:gd name="connsiteY27" fmla="*/ 60155 h 751935"/>
                <a:gd name="connsiteX28" fmla="*/ 1240527 w 1248221"/>
                <a:gd name="connsiteY28" fmla="*/ 60155 h 751935"/>
                <a:gd name="connsiteX29" fmla="*/ 706831 w 1248221"/>
                <a:gd name="connsiteY29" fmla="*/ 277375 h 751935"/>
                <a:gd name="connsiteX30" fmla="*/ 761361 w 1248221"/>
                <a:gd name="connsiteY30" fmla="*/ 407785 h 751935"/>
                <a:gd name="connsiteX31" fmla="*/ 706831 w 1248221"/>
                <a:gd name="connsiteY31" fmla="*/ 538195 h 751935"/>
                <a:gd name="connsiteX32" fmla="*/ 706831 w 1248221"/>
                <a:gd name="connsiteY32" fmla="*/ 575579 h 751935"/>
                <a:gd name="connsiteX33" fmla="*/ 791438 w 1248221"/>
                <a:gd name="connsiteY33" fmla="*/ 407810 h 751935"/>
                <a:gd name="connsiteX34" fmla="*/ 706831 w 1248221"/>
                <a:gd name="connsiteY34" fmla="*/ 240017 h 751935"/>
                <a:gd name="connsiteX35" fmla="*/ 706831 w 1248221"/>
                <a:gd name="connsiteY35" fmla="*/ 180464 h 751935"/>
                <a:gd name="connsiteX36" fmla="*/ 1099339 w 1248221"/>
                <a:gd name="connsiteY36" fmla="*/ 180464 h 751935"/>
                <a:gd name="connsiteX37" fmla="*/ 1157977 w 1248221"/>
                <a:gd name="connsiteY37" fmla="*/ 239100 h 751935"/>
                <a:gd name="connsiteX38" fmla="*/ 1157977 w 1248221"/>
                <a:gd name="connsiteY38" fmla="*/ 573008 h 751935"/>
                <a:gd name="connsiteX39" fmla="*/ 1098874 w 1248221"/>
                <a:gd name="connsiteY39" fmla="*/ 635130 h 751935"/>
                <a:gd name="connsiteX40" fmla="*/ 706829 w 1248221"/>
                <a:gd name="connsiteY40" fmla="*/ 635130 h 751935"/>
                <a:gd name="connsiteX41" fmla="*/ 541406 w 1248221"/>
                <a:gd name="connsiteY41" fmla="*/ 538221 h 751935"/>
                <a:gd name="connsiteX42" fmla="*/ 486876 w 1248221"/>
                <a:gd name="connsiteY42" fmla="*/ 407811 h 751935"/>
                <a:gd name="connsiteX43" fmla="*/ 541406 w 1248221"/>
                <a:gd name="connsiteY43" fmla="*/ 277401 h 751935"/>
                <a:gd name="connsiteX44" fmla="*/ 541406 w 1248221"/>
                <a:gd name="connsiteY44" fmla="*/ 240018 h 751935"/>
                <a:gd name="connsiteX45" fmla="*/ 456798 w 1248221"/>
                <a:gd name="connsiteY45" fmla="*/ 407786 h 751935"/>
                <a:gd name="connsiteX46" fmla="*/ 541406 w 1248221"/>
                <a:gd name="connsiteY46" fmla="*/ 575555 h 751935"/>
                <a:gd name="connsiteX47" fmla="*/ 541406 w 1248221"/>
                <a:gd name="connsiteY47" fmla="*/ 635121 h 751935"/>
                <a:gd name="connsiteX48" fmla="*/ 149349 w 1248221"/>
                <a:gd name="connsiteY48" fmla="*/ 635121 h 751935"/>
                <a:gd name="connsiteX49" fmla="*/ 90247 w 1248221"/>
                <a:gd name="connsiteY49" fmla="*/ 572999 h 751935"/>
                <a:gd name="connsiteX50" fmla="*/ 90247 w 1248221"/>
                <a:gd name="connsiteY50" fmla="*/ 239104 h 751935"/>
                <a:gd name="connsiteX51" fmla="*/ 148884 w 1248221"/>
                <a:gd name="connsiteY51" fmla="*/ 180467 h 751935"/>
                <a:gd name="connsiteX52" fmla="*/ 541404 w 1248221"/>
                <a:gd name="connsiteY52" fmla="*/ 180467 h 751935"/>
                <a:gd name="connsiteX53" fmla="*/ 30092 w 1248221"/>
                <a:gd name="connsiteY53" fmla="*/ 120310 h 751935"/>
                <a:gd name="connsiteX54" fmla="*/ 541406 w 1248221"/>
                <a:gd name="connsiteY54" fmla="*/ 120310 h 751935"/>
                <a:gd name="connsiteX55" fmla="*/ 541406 w 1248221"/>
                <a:gd name="connsiteY55" fmla="*/ 150388 h 751935"/>
                <a:gd name="connsiteX56" fmla="*/ 135363 w 1248221"/>
                <a:gd name="connsiteY56" fmla="*/ 150388 h 751935"/>
                <a:gd name="connsiteX57" fmla="*/ 120324 w 1248221"/>
                <a:gd name="connsiteY57" fmla="*/ 165426 h 751935"/>
                <a:gd name="connsiteX58" fmla="*/ 75208 w 1248221"/>
                <a:gd name="connsiteY58" fmla="*/ 210542 h 751935"/>
                <a:gd name="connsiteX59" fmla="*/ 60170 w 1248221"/>
                <a:gd name="connsiteY59" fmla="*/ 225581 h 751935"/>
                <a:gd name="connsiteX60" fmla="*/ 60170 w 1248221"/>
                <a:gd name="connsiteY60" fmla="*/ 586508 h 751935"/>
                <a:gd name="connsiteX61" fmla="*/ 75208 w 1248221"/>
                <a:gd name="connsiteY61" fmla="*/ 601546 h 751935"/>
                <a:gd name="connsiteX62" fmla="*/ 120006 w 1248221"/>
                <a:gd name="connsiteY62" fmla="*/ 649282 h 751935"/>
                <a:gd name="connsiteX63" fmla="*/ 135016 w 1248221"/>
                <a:gd name="connsiteY63" fmla="*/ 665206 h 751935"/>
                <a:gd name="connsiteX64" fmla="*/ 541410 w 1248221"/>
                <a:gd name="connsiteY64" fmla="*/ 665206 h 751935"/>
                <a:gd name="connsiteX65" fmla="*/ 541410 w 1248221"/>
                <a:gd name="connsiteY65" fmla="*/ 695283 h 751935"/>
                <a:gd name="connsiteX66" fmla="*/ 30096 w 1248221"/>
                <a:gd name="connsiteY66" fmla="*/ 695283 h 751935"/>
                <a:gd name="connsiteX67" fmla="*/ 571483 w 1248221"/>
                <a:gd name="connsiteY67" fmla="*/ 721855 h 751935"/>
                <a:gd name="connsiteX68" fmla="*/ 571483 w 1248221"/>
                <a:gd name="connsiteY68" fmla="*/ 30079 h 751935"/>
                <a:gd name="connsiteX69" fmla="*/ 676753 w 1248221"/>
                <a:gd name="connsiteY69" fmla="*/ 30079 h 751935"/>
                <a:gd name="connsiteX70" fmla="*/ 676768 w 1248221"/>
                <a:gd name="connsiteY70" fmla="*/ 721855 h 751935"/>
                <a:gd name="connsiteX71" fmla="*/ 1218144 w 1248221"/>
                <a:gd name="connsiteY71" fmla="*/ 120310 h 751935"/>
                <a:gd name="connsiteX72" fmla="*/ 1218144 w 1248221"/>
                <a:gd name="connsiteY72" fmla="*/ 695287 h 751935"/>
                <a:gd name="connsiteX73" fmla="*/ 706831 w 1248221"/>
                <a:gd name="connsiteY73" fmla="*/ 695287 h 751935"/>
                <a:gd name="connsiteX74" fmla="*/ 706831 w 1248221"/>
                <a:gd name="connsiteY74" fmla="*/ 665210 h 751935"/>
                <a:gd name="connsiteX75" fmla="*/ 1113225 w 1248221"/>
                <a:gd name="connsiteY75" fmla="*/ 665210 h 751935"/>
                <a:gd name="connsiteX76" fmla="*/ 1128238 w 1248221"/>
                <a:gd name="connsiteY76" fmla="*/ 649285 h 751935"/>
                <a:gd name="connsiteX77" fmla="*/ 1173028 w 1248221"/>
                <a:gd name="connsiteY77" fmla="*/ 601550 h 751935"/>
                <a:gd name="connsiteX78" fmla="*/ 1188067 w 1248221"/>
                <a:gd name="connsiteY78" fmla="*/ 586512 h 751935"/>
                <a:gd name="connsiteX79" fmla="*/ 1188067 w 1248221"/>
                <a:gd name="connsiteY79" fmla="*/ 225584 h 751935"/>
                <a:gd name="connsiteX80" fmla="*/ 1173028 w 1248221"/>
                <a:gd name="connsiteY80" fmla="*/ 210546 h 751935"/>
                <a:gd name="connsiteX81" fmla="*/ 1127912 w 1248221"/>
                <a:gd name="connsiteY81" fmla="*/ 165430 h 751935"/>
                <a:gd name="connsiteX82" fmla="*/ 1112878 w 1248221"/>
                <a:gd name="connsiteY82" fmla="*/ 150391 h 751935"/>
                <a:gd name="connsiteX83" fmla="*/ 706834 w 1248221"/>
                <a:gd name="connsiteY83" fmla="*/ 150391 h 751935"/>
                <a:gd name="connsiteX84" fmla="*/ 706834 w 1248221"/>
                <a:gd name="connsiteY84" fmla="*/ 120314 h 751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1248221" h="751935">
                  <a:moveTo>
                    <a:pt x="1240527" y="60155"/>
                  </a:moveTo>
                  <a:cubicBezTo>
                    <a:pt x="1244775" y="60155"/>
                    <a:pt x="1248221" y="56786"/>
                    <a:pt x="1248221" y="52635"/>
                  </a:cubicBezTo>
                  <a:lnTo>
                    <a:pt x="1248221" y="37597"/>
                  </a:lnTo>
                  <a:cubicBezTo>
                    <a:pt x="1248221" y="33446"/>
                    <a:pt x="1244788" y="30077"/>
                    <a:pt x="1240527" y="30077"/>
                  </a:cubicBezTo>
                  <a:lnTo>
                    <a:pt x="706831" y="30077"/>
                  </a:lnTo>
                  <a:cubicBezTo>
                    <a:pt x="706831" y="13492"/>
                    <a:pt x="693325" y="0"/>
                    <a:pt x="676753" y="0"/>
                  </a:cubicBezTo>
                  <a:lnTo>
                    <a:pt x="571483" y="0"/>
                  </a:lnTo>
                  <a:cubicBezTo>
                    <a:pt x="554912" y="0"/>
                    <a:pt x="541406" y="13492"/>
                    <a:pt x="541406" y="30077"/>
                  </a:cubicBezTo>
                  <a:lnTo>
                    <a:pt x="7735" y="30077"/>
                  </a:lnTo>
                  <a:cubicBezTo>
                    <a:pt x="3480" y="30077"/>
                    <a:pt x="20" y="33446"/>
                    <a:pt x="20" y="37597"/>
                  </a:cubicBezTo>
                  <a:lnTo>
                    <a:pt x="20" y="52635"/>
                  </a:lnTo>
                  <a:cubicBezTo>
                    <a:pt x="20" y="56786"/>
                    <a:pt x="3461" y="60155"/>
                    <a:pt x="7720" y="60155"/>
                  </a:cubicBezTo>
                  <a:lnTo>
                    <a:pt x="541391" y="60155"/>
                  </a:lnTo>
                  <a:lnTo>
                    <a:pt x="541391" y="90232"/>
                  </a:lnTo>
                  <a:lnTo>
                    <a:pt x="30077" y="90232"/>
                  </a:lnTo>
                  <a:cubicBezTo>
                    <a:pt x="13492" y="90232"/>
                    <a:pt x="0" y="103724"/>
                    <a:pt x="0" y="120309"/>
                  </a:cubicBezTo>
                  <a:lnTo>
                    <a:pt x="0" y="695286"/>
                  </a:lnTo>
                  <a:cubicBezTo>
                    <a:pt x="0" y="711871"/>
                    <a:pt x="13492" y="725363"/>
                    <a:pt x="30077" y="725363"/>
                  </a:cubicBezTo>
                  <a:lnTo>
                    <a:pt x="541754" y="725363"/>
                  </a:lnTo>
                  <a:cubicBezTo>
                    <a:pt x="543526" y="740279"/>
                    <a:pt x="556097" y="751935"/>
                    <a:pt x="571484" y="751935"/>
                  </a:cubicBezTo>
                  <a:lnTo>
                    <a:pt x="676755" y="751935"/>
                  </a:lnTo>
                  <a:cubicBezTo>
                    <a:pt x="692140" y="751935"/>
                    <a:pt x="704713" y="740279"/>
                    <a:pt x="706470" y="725363"/>
                  </a:cubicBezTo>
                  <a:lnTo>
                    <a:pt x="1218144" y="725363"/>
                  </a:lnTo>
                  <a:cubicBezTo>
                    <a:pt x="1234737" y="725363"/>
                    <a:pt x="1248221" y="711871"/>
                    <a:pt x="1248221" y="695286"/>
                  </a:cubicBezTo>
                  <a:lnTo>
                    <a:pt x="1248221" y="120309"/>
                  </a:lnTo>
                  <a:cubicBezTo>
                    <a:pt x="1248221" y="103724"/>
                    <a:pt x="1234737" y="90232"/>
                    <a:pt x="1218144" y="90232"/>
                  </a:cubicBezTo>
                  <a:lnTo>
                    <a:pt x="706833" y="90232"/>
                  </a:lnTo>
                  <a:lnTo>
                    <a:pt x="706833" y="60155"/>
                  </a:lnTo>
                  <a:lnTo>
                    <a:pt x="1240527" y="60155"/>
                  </a:lnTo>
                  <a:close/>
                  <a:moveTo>
                    <a:pt x="706831" y="277375"/>
                  </a:moveTo>
                  <a:cubicBezTo>
                    <a:pt x="740986" y="307947"/>
                    <a:pt x="761361" y="355624"/>
                    <a:pt x="761361" y="407785"/>
                  </a:cubicBezTo>
                  <a:cubicBezTo>
                    <a:pt x="761361" y="459970"/>
                    <a:pt x="741001" y="507626"/>
                    <a:pt x="706831" y="538195"/>
                  </a:cubicBezTo>
                  <a:close/>
                  <a:moveTo>
                    <a:pt x="706831" y="575579"/>
                  </a:moveTo>
                  <a:cubicBezTo>
                    <a:pt x="759089" y="541095"/>
                    <a:pt x="791438" y="477915"/>
                    <a:pt x="791438" y="407810"/>
                  </a:cubicBezTo>
                  <a:cubicBezTo>
                    <a:pt x="791438" y="337699"/>
                    <a:pt x="759090" y="274505"/>
                    <a:pt x="706831" y="240017"/>
                  </a:cubicBezTo>
                  <a:lnTo>
                    <a:pt x="706831" y="180464"/>
                  </a:lnTo>
                  <a:lnTo>
                    <a:pt x="1099339" y="180464"/>
                  </a:lnTo>
                  <a:cubicBezTo>
                    <a:pt x="1105326" y="209880"/>
                    <a:pt x="1128564" y="233114"/>
                    <a:pt x="1157977" y="239100"/>
                  </a:cubicBezTo>
                  <a:lnTo>
                    <a:pt x="1157977" y="573008"/>
                  </a:lnTo>
                  <a:cubicBezTo>
                    <a:pt x="1127875" y="579192"/>
                    <a:pt x="1103584" y="603237"/>
                    <a:pt x="1098874" y="635130"/>
                  </a:cubicBezTo>
                  <a:lnTo>
                    <a:pt x="706829" y="635130"/>
                  </a:lnTo>
                  <a:close/>
                  <a:moveTo>
                    <a:pt x="541406" y="538221"/>
                  </a:moveTo>
                  <a:cubicBezTo>
                    <a:pt x="507251" y="507635"/>
                    <a:pt x="486876" y="459959"/>
                    <a:pt x="486876" y="407811"/>
                  </a:cubicBezTo>
                  <a:cubicBezTo>
                    <a:pt x="486876" y="355656"/>
                    <a:pt x="507256" y="307985"/>
                    <a:pt x="541406" y="277401"/>
                  </a:cubicBezTo>
                  <a:close/>
                  <a:moveTo>
                    <a:pt x="541406" y="240018"/>
                  </a:moveTo>
                  <a:cubicBezTo>
                    <a:pt x="489148" y="274515"/>
                    <a:pt x="456798" y="337695"/>
                    <a:pt x="456798" y="407786"/>
                  </a:cubicBezTo>
                  <a:cubicBezTo>
                    <a:pt x="456798" y="477898"/>
                    <a:pt x="489146" y="541079"/>
                    <a:pt x="541406" y="575555"/>
                  </a:cubicBezTo>
                  <a:lnTo>
                    <a:pt x="541406" y="635121"/>
                  </a:lnTo>
                  <a:lnTo>
                    <a:pt x="149349" y="635121"/>
                  </a:lnTo>
                  <a:cubicBezTo>
                    <a:pt x="144732" y="603659"/>
                    <a:pt x="120774" y="579255"/>
                    <a:pt x="90247" y="572999"/>
                  </a:cubicBezTo>
                  <a:lnTo>
                    <a:pt x="90247" y="239104"/>
                  </a:lnTo>
                  <a:cubicBezTo>
                    <a:pt x="119664" y="233118"/>
                    <a:pt x="142897" y="209884"/>
                    <a:pt x="148884" y="180467"/>
                  </a:cubicBezTo>
                  <a:lnTo>
                    <a:pt x="541404" y="180467"/>
                  </a:lnTo>
                  <a:close/>
                  <a:moveTo>
                    <a:pt x="30092" y="120310"/>
                  </a:moveTo>
                  <a:lnTo>
                    <a:pt x="541406" y="120310"/>
                  </a:lnTo>
                  <a:lnTo>
                    <a:pt x="541406" y="150388"/>
                  </a:lnTo>
                  <a:lnTo>
                    <a:pt x="135363" y="150388"/>
                  </a:lnTo>
                  <a:cubicBezTo>
                    <a:pt x="127045" y="150388"/>
                    <a:pt x="120324" y="157124"/>
                    <a:pt x="120324" y="165426"/>
                  </a:cubicBezTo>
                  <a:cubicBezTo>
                    <a:pt x="120324" y="190300"/>
                    <a:pt x="100082" y="210542"/>
                    <a:pt x="75208" y="210542"/>
                  </a:cubicBezTo>
                  <a:cubicBezTo>
                    <a:pt x="66891" y="210542"/>
                    <a:pt x="60170" y="217278"/>
                    <a:pt x="60170" y="225581"/>
                  </a:cubicBezTo>
                  <a:lnTo>
                    <a:pt x="60170" y="586508"/>
                  </a:lnTo>
                  <a:cubicBezTo>
                    <a:pt x="60170" y="594810"/>
                    <a:pt x="66891" y="601546"/>
                    <a:pt x="75208" y="601546"/>
                  </a:cubicBezTo>
                  <a:cubicBezTo>
                    <a:pt x="99872" y="601546"/>
                    <a:pt x="121631" y="621745"/>
                    <a:pt x="120006" y="649282"/>
                  </a:cubicBezTo>
                  <a:cubicBezTo>
                    <a:pt x="119477" y="657913"/>
                    <a:pt x="126365" y="665206"/>
                    <a:pt x="135016" y="665206"/>
                  </a:cubicBezTo>
                  <a:lnTo>
                    <a:pt x="541410" y="665206"/>
                  </a:lnTo>
                  <a:lnTo>
                    <a:pt x="541410" y="695283"/>
                  </a:lnTo>
                  <a:lnTo>
                    <a:pt x="30096" y="695283"/>
                  </a:lnTo>
                  <a:close/>
                  <a:moveTo>
                    <a:pt x="571483" y="721855"/>
                  </a:moveTo>
                  <a:lnTo>
                    <a:pt x="571483" y="30079"/>
                  </a:lnTo>
                  <a:lnTo>
                    <a:pt x="676753" y="30079"/>
                  </a:lnTo>
                  <a:cubicBezTo>
                    <a:pt x="676753" y="33417"/>
                    <a:pt x="676768" y="719199"/>
                    <a:pt x="676768" y="721855"/>
                  </a:cubicBezTo>
                  <a:close/>
                  <a:moveTo>
                    <a:pt x="1218144" y="120310"/>
                  </a:moveTo>
                  <a:lnTo>
                    <a:pt x="1218144" y="695287"/>
                  </a:lnTo>
                  <a:lnTo>
                    <a:pt x="706831" y="695287"/>
                  </a:lnTo>
                  <a:lnTo>
                    <a:pt x="706831" y="665210"/>
                  </a:lnTo>
                  <a:lnTo>
                    <a:pt x="1113225" y="665210"/>
                  </a:lnTo>
                  <a:cubicBezTo>
                    <a:pt x="1121869" y="665210"/>
                    <a:pt x="1128765" y="657916"/>
                    <a:pt x="1128238" y="649285"/>
                  </a:cubicBezTo>
                  <a:cubicBezTo>
                    <a:pt x="1126634" y="621720"/>
                    <a:pt x="1148403" y="601550"/>
                    <a:pt x="1173028" y="601550"/>
                  </a:cubicBezTo>
                  <a:cubicBezTo>
                    <a:pt x="1181350" y="601550"/>
                    <a:pt x="1188067" y="594814"/>
                    <a:pt x="1188067" y="586512"/>
                  </a:cubicBezTo>
                  <a:lnTo>
                    <a:pt x="1188067" y="225584"/>
                  </a:lnTo>
                  <a:cubicBezTo>
                    <a:pt x="1188067" y="217282"/>
                    <a:pt x="1181350" y="210546"/>
                    <a:pt x="1173028" y="210546"/>
                  </a:cubicBezTo>
                  <a:cubicBezTo>
                    <a:pt x="1148164" y="210546"/>
                    <a:pt x="1127912" y="190304"/>
                    <a:pt x="1127912" y="165430"/>
                  </a:cubicBezTo>
                  <a:cubicBezTo>
                    <a:pt x="1127912" y="157127"/>
                    <a:pt x="1121195" y="150391"/>
                    <a:pt x="1112878" y="150391"/>
                  </a:cubicBezTo>
                  <a:lnTo>
                    <a:pt x="706834" y="150391"/>
                  </a:lnTo>
                  <a:lnTo>
                    <a:pt x="706834" y="120314"/>
                  </a:lnTo>
                  <a:close/>
                </a:path>
              </a:pathLst>
            </a:custGeom>
            <a:grpFill/>
            <a:ln w="124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grpSp>
        <p:nvGrpSpPr>
          <p:cNvPr id="95" name="Graphique 76">
            <a:extLst>
              <a:ext uri="{FF2B5EF4-FFF2-40B4-BE49-F238E27FC236}">
                <a16:creationId xmlns:a16="http://schemas.microsoft.com/office/drawing/2014/main" id="{ABFB60A9-3B4E-AC75-A9E7-B3B2F3B3C9BE}"/>
              </a:ext>
            </a:extLst>
          </p:cNvPr>
          <p:cNvGrpSpPr/>
          <p:nvPr/>
        </p:nvGrpSpPr>
        <p:grpSpPr>
          <a:xfrm>
            <a:off x="956847" y="5025390"/>
            <a:ext cx="546252" cy="480746"/>
            <a:chOff x="636832" y="5393683"/>
            <a:chExt cx="959139" cy="844118"/>
          </a:xfr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</p:grpSpPr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3F40D704-DCDB-89C9-FE3A-C1869198CE67}"/>
                </a:ext>
              </a:extLst>
            </p:cNvPr>
            <p:cNvSpPr/>
            <p:nvPr/>
          </p:nvSpPr>
          <p:spPr>
            <a:xfrm>
              <a:off x="636832" y="5393683"/>
              <a:ext cx="959139" cy="844118"/>
            </a:xfrm>
            <a:custGeom>
              <a:avLst/>
              <a:gdLst>
                <a:gd name="connsiteX0" fmla="*/ 944163 w 959139"/>
                <a:gd name="connsiteY0" fmla="*/ 156238 h 844118"/>
                <a:gd name="connsiteX1" fmla="*/ 644428 w 959139"/>
                <a:gd name="connsiteY1" fmla="*/ 156238 h 844118"/>
                <a:gd name="connsiteX2" fmla="*/ 629440 w 959139"/>
                <a:gd name="connsiteY2" fmla="*/ 171226 h 844118"/>
                <a:gd name="connsiteX3" fmla="*/ 629440 w 959139"/>
                <a:gd name="connsiteY3" fmla="*/ 252156 h 844118"/>
                <a:gd name="connsiteX4" fmla="*/ 570991 w 959139"/>
                <a:gd name="connsiteY4" fmla="*/ 133759 h 844118"/>
                <a:gd name="connsiteX5" fmla="*/ 593471 w 959139"/>
                <a:gd name="connsiteY5" fmla="*/ 49832 h 844118"/>
                <a:gd name="connsiteX6" fmla="*/ 551512 w 959139"/>
                <a:gd name="connsiteY6" fmla="*/ 15358 h 844118"/>
                <a:gd name="connsiteX7" fmla="*/ 527534 w 959139"/>
                <a:gd name="connsiteY7" fmla="*/ 27349 h 844118"/>
                <a:gd name="connsiteX8" fmla="*/ 478078 w 959139"/>
                <a:gd name="connsiteY8" fmla="*/ 3371 h 844118"/>
                <a:gd name="connsiteX9" fmla="*/ 451102 w 959139"/>
                <a:gd name="connsiteY9" fmla="*/ 3371 h 844118"/>
                <a:gd name="connsiteX10" fmla="*/ 404641 w 959139"/>
                <a:gd name="connsiteY10" fmla="*/ 27349 h 844118"/>
                <a:gd name="connsiteX11" fmla="*/ 380663 w 959139"/>
                <a:gd name="connsiteY11" fmla="*/ 15358 h 844118"/>
                <a:gd name="connsiteX12" fmla="*/ 338700 w 959139"/>
                <a:gd name="connsiteY12" fmla="*/ 51327 h 844118"/>
                <a:gd name="connsiteX13" fmla="*/ 362678 w 959139"/>
                <a:gd name="connsiteY13" fmla="*/ 135253 h 844118"/>
                <a:gd name="connsiteX14" fmla="*/ 202318 w 959139"/>
                <a:gd name="connsiteY14" fmla="*/ 487436 h 844118"/>
                <a:gd name="connsiteX15" fmla="*/ 157357 w 959139"/>
                <a:gd name="connsiteY15" fmla="*/ 505418 h 844118"/>
                <a:gd name="connsiteX16" fmla="*/ 157357 w 959139"/>
                <a:gd name="connsiteY16" fmla="*/ 493427 h 844118"/>
                <a:gd name="connsiteX17" fmla="*/ 127384 w 959139"/>
                <a:gd name="connsiteY17" fmla="*/ 463455 h 844118"/>
                <a:gd name="connsiteX18" fmla="*/ 29973 w 959139"/>
                <a:gd name="connsiteY18" fmla="*/ 463458 h 844118"/>
                <a:gd name="connsiteX19" fmla="*/ 0 w 959139"/>
                <a:gd name="connsiteY19" fmla="*/ 493431 h 844118"/>
                <a:gd name="connsiteX20" fmla="*/ 0 w 959139"/>
                <a:gd name="connsiteY20" fmla="*/ 814140 h 844118"/>
                <a:gd name="connsiteX21" fmla="*/ 29973 w 959139"/>
                <a:gd name="connsiteY21" fmla="*/ 844118 h 844118"/>
                <a:gd name="connsiteX22" fmla="*/ 127384 w 959139"/>
                <a:gd name="connsiteY22" fmla="*/ 844118 h 844118"/>
                <a:gd name="connsiteX23" fmla="*/ 157357 w 959139"/>
                <a:gd name="connsiteY23" fmla="*/ 796154 h 844118"/>
                <a:gd name="connsiteX24" fmla="*/ 230790 w 959139"/>
                <a:gd name="connsiteY24" fmla="*/ 784169 h 844118"/>
                <a:gd name="connsiteX25" fmla="*/ 515532 w 959139"/>
                <a:gd name="connsiteY25" fmla="*/ 830625 h 844118"/>
                <a:gd name="connsiteX26" fmla="*/ 548502 w 959139"/>
                <a:gd name="connsiteY26" fmla="*/ 827625 h 844118"/>
                <a:gd name="connsiteX27" fmla="*/ 774804 w 959139"/>
                <a:gd name="connsiteY27" fmla="*/ 704737 h 844118"/>
                <a:gd name="connsiteX28" fmla="*/ 797284 w 959139"/>
                <a:gd name="connsiteY28" fmla="*/ 632801 h 844118"/>
                <a:gd name="connsiteX29" fmla="*/ 944147 w 959139"/>
                <a:gd name="connsiteY29" fmla="*/ 632808 h 844118"/>
                <a:gd name="connsiteX30" fmla="*/ 959140 w 959139"/>
                <a:gd name="connsiteY30" fmla="*/ 617819 h 844118"/>
                <a:gd name="connsiteX31" fmla="*/ 959140 w 959139"/>
                <a:gd name="connsiteY31" fmla="*/ 171217 h 844118"/>
                <a:gd name="connsiteX32" fmla="*/ 944147 w 959139"/>
                <a:gd name="connsiteY32" fmla="*/ 156229 h 844118"/>
                <a:gd name="connsiteX33" fmla="*/ 929178 w 959139"/>
                <a:gd name="connsiteY33" fmla="*/ 334575 h 844118"/>
                <a:gd name="connsiteX34" fmla="*/ 659418 w 959139"/>
                <a:gd name="connsiteY34" fmla="*/ 334575 h 844118"/>
                <a:gd name="connsiteX35" fmla="*/ 659418 w 959139"/>
                <a:gd name="connsiteY35" fmla="*/ 274629 h 844118"/>
                <a:gd name="connsiteX36" fmla="*/ 929178 w 959139"/>
                <a:gd name="connsiteY36" fmla="*/ 274629 h 844118"/>
                <a:gd name="connsiteX37" fmla="*/ 929178 w 959139"/>
                <a:gd name="connsiteY37" fmla="*/ 424494 h 844118"/>
                <a:gd name="connsiteX38" fmla="*/ 659418 w 959139"/>
                <a:gd name="connsiteY38" fmla="*/ 424494 h 844118"/>
                <a:gd name="connsiteX39" fmla="*/ 659418 w 959139"/>
                <a:gd name="connsiteY39" fmla="*/ 364548 h 844118"/>
                <a:gd name="connsiteX40" fmla="*/ 929178 w 959139"/>
                <a:gd name="connsiteY40" fmla="*/ 364548 h 844118"/>
                <a:gd name="connsiteX41" fmla="*/ 659418 w 959139"/>
                <a:gd name="connsiteY41" fmla="*/ 454470 h 844118"/>
                <a:gd name="connsiteX42" fmla="*/ 929178 w 959139"/>
                <a:gd name="connsiteY42" fmla="*/ 454470 h 844118"/>
                <a:gd name="connsiteX43" fmla="*/ 929178 w 959139"/>
                <a:gd name="connsiteY43" fmla="*/ 514416 h 844118"/>
                <a:gd name="connsiteX44" fmla="*/ 659418 w 959139"/>
                <a:gd name="connsiteY44" fmla="*/ 514416 h 844118"/>
                <a:gd name="connsiteX45" fmla="*/ 659418 w 959139"/>
                <a:gd name="connsiteY45" fmla="*/ 186206 h 844118"/>
                <a:gd name="connsiteX46" fmla="*/ 929178 w 959139"/>
                <a:gd name="connsiteY46" fmla="*/ 186206 h 844118"/>
                <a:gd name="connsiteX47" fmla="*/ 929178 w 959139"/>
                <a:gd name="connsiteY47" fmla="*/ 246152 h 844118"/>
                <a:gd name="connsiteX48" fmla="*/ 659418 w 959139"/>
                <a:gd name="connsiteY48" fmla="*/ 246152 h 844118"/>
                <a:gd name="connsiteX49" fmla="*/ 391154 w 959139"/>
                <a:gd name="connsiteY49" fmla="*/ 54324 h 844118"/>
                <a:gd name="connsiteX50" fmla="*/ 418129 w 959139"/>
                <a:gd name="connsiteY50" fmla="*/ 54324 h 844118"/>
                <a:gd name="connsiteX51" fmla="*/ 464587 w 959139"/>
                <a:gd name="connsiteY51" fmla="*/ 30346 h 844118"/>
                <a:gd name="connsiteX52" fmla="*/ 512546 w 959139"/>
                <a:gd name="connsiteY52" fmla="*/ 54324 h 844118"/>
                <a:gd name="connsiteX53" fmla="*/ 539522 w 959139"/>
                <a:gd name="connsiteY53" fmla="*/ 54324 h 844118"/>
                <a:gd name="connsiteX54" fmla="*/ 563500 w 959139"/>
                <a:gd name="connsiteY54" fmla="*/ 42333 h 844118"/>
                <a:gd name="connsiteX55" fmla="*/ 542520 w 959139"/>
                <a:gd name="connsiteY55" fmla="*/ 121762 h 844118"/>
                <a:gd name="connsiteX56" fmla="*/ 389660 w 959139"/>
                <a:gd name="connsiteY56" fmla="*/ 121762 h 844118"/>
                <a:gd name="connsiteX57" fmla="*/ 367180 w 959139"/>
                <a:gd name="connsiteY57" fmla="*/ 43830 h 844118"/>
                <a:gd name="connsiteX58" fmla="*/ 29978 w 959139"/>
                <a:gd name="connsiteY58" fmla="*/ 815648 h 844118"/>
                <a:gd name="connsiteX59" fmla="*/ 29978 w 959139"/>
                <a:gd name="connsiteY59" fmla="*/ 493433 h 844118"/>
                <a:gd name="connsiteX60" fmla="*/ 127390 w 959139"/>
                <a:gd name="connsiteY60" fmla="*/ 493433 h 844118"/>
                <a:gd name="connsiteX61" fmla="*/ 127390 w 959139"/>
                <a:gd name="connsiteY61" fmla="*/ 814148 h 844118"/>
                <a:gd name="connsiteX62" fmla="*/ 29978 w 959139"/>
                <a:gd name="connsiteY62" fmla="*/ 814148 h 844118"/>
                <a:gd name="connsiteX63" fmla="*/ 753829 w 959139"/>
                <a:gd name="connsiteY63" fmla="*/ 682263 h 844118"/>
                <a:gd name="connsiteX64" fmla="*/ 542521 w 959139"/>
                <a:gd name="connsiteY64" fmla="*/ 797663 h 844118"/>
                <a:gd name="connsiteX65" fmla="*/ 517043 w 959139"/>
                <a:gd name="connsiteY65" fmla="*/ 800655 h 844118"/>
                <a:gd name="connsiteX66" fmla="*/ 238294 w 959139"/>
                <a:gd name="connsiteY66" fmla="*/ 755699 h 844118"/>
                <a:gd name="connsiteX67" fmla="*/ 157365 w 959139"/>
                <a:gd name="connsiteY67" fmla="*/ 764692 h 844118"/>
                <a:gd name="connsiteX68" fmla="*/ 157368 w 959139"/>
                <a:gd name="connsiteY68" fmla="*/ 538388 h 844118"/>
                <a:gd name="connsiteX69" fmla="*/ 400155 w 959139"/>
                <a:gd name="connsiteY69" fmla="*/ 523400 h 844118"/>
                <a:gd name="connsiteX70" fmla="*/ 551522 w 959139"/>
                <a:gd name="connsiteY70" fmla="*/ 565363 h 844118"/>
                <a:gd name="connsiteX71" fmla="*/ 563513 w 959139"/>
                <a:gd name="connsiteY71" fmla="*/ 593839 h 844118"/>
                <a:gd name="connsiteX72" fmla="*/ 536537 w 959139"/>
                <a:gd name="connsiteY72" fmla="*/ 607326 h 844118"/>
                <a:gd name="connsiteX73" fmla="*/ 449619 w 959139"/>
                <a:gd name="connsiteY73" fmla="*/ 605829 h 844118"/>
                <a:gd name="connsiteX74" fmla="*/ 439128 w 959139"/>
                <a:gd name="connsiteY74" fmla="*/ 700248 h 844118"/>
                <a:gd name="connsiteX75" fmla="*/ 737363 w 959139"/>
                <a:gd name="connsiteY75" fmla="*/ 644797 h 844118"/>
                <a:gd name="connsiteX76" fmla="*/ 759843 w 959139"/>
                <a:gd name="connsiteY76" fmla="*/ 641800 h 844118"/>
                <a:gd name="connsiteX77" fmla="*/ 753845 w 959139"/>
                <a:gd name="connsiteY77" fmla="*/ 682263 h 844118"/>
                <a:gd name="connsiteX78" fmla="*/ 443610 w 959139"/>
                <a:gd name="connsiteY78" fmla="*/ 670273 h 844118"/>
                <a:gd name="connsiteX79" fmla="*/ 448105 w 959139"/>
                <a:gd name="connsiteY79" fmla="*/ 635805 h 844118"/>
                <a:gd name="connsiteX80" fmla="*/ 541024 w 959139"/>
                <a:gd name="connsiteY80" fmla="*/ 637302 h 844118"/>
                <a:gd name="connsiteX81" fmla="*/ 562004 w 959139"/>
                <a:gd name="connsiteY81" fmla="*/ 538391 h 844118"/>
                <a:gd name="connsiteX82" fmla="*/ 406144 w 959139"/>
                <a:gd name="connsiteY82" fmla="*/ 494930 h 844118"/>
                <a:gd name="connsiteX83" fmla="*/ 235299 w 959139"/>
                <a:gd name="connsiteY83" fmla="*/ 481443 h 844118"/>
                <a:gd name="connsiteX84" fmla="*/ 386667 w 959139"/>
                <a:gd name="connsiteY84" fmla="*/ 150237 h 844118"/>
                <a:gd name="connsiteX85" fmla="*/ 412144 w 959139"/>
                <a:gd name="connsiteY85" fmla="*/ 150237 h 844118"/>
                <a:gd name="connsiteX86" fmla="*/ 412144 w 959139"/>
                <a:gd name="connsiteY86" fmla="*/ 324083 h 844118"/>
                <a:gd name="connsiteX87" fmla="*/ 427133 w 959139"/>
                <a:gd name="connsiteY87" fmla="*/ 339071 h 844118"/>
                <a:gd name="connsiteX88" fmla="*/ 442121 w 959139"/>
                <a:gd name="connsiteY88" fmla="*/ 324083 h 844118"/>
                <a:gd name="connsiteX89" fmla="*/ 442121 w 959139"/>
                <a:gd name="connsiteY89" fmla="*/ 150237 h 844118"/>
                <a:gd name="connsiteX90" fmla="*/ 487082 w 959139"/>
                <a:gd name="connsiteY90" fmla="*/ 150237 h 844118"/>
                <a:gd name="connsiteX91" fmla="*/ 487082 w 959139"/>
                <a:gd name="connsiteY91" fmla="*/ 234164 h 844118"/>
                <a:gd name="connsiteX92" fmla="*/ 502071 w 959139"/>
                <a:gd name="connsiteY92" fmla="*/ 249152 h 844118"/>
                <a:gd name="connsiteX93" fmla="*/ 517059 w 959139"/>
                <a:gd name="connsiteY93" fmla="*/ 234164 h 844118"/>
                <a:gd name="connsiteX94" fmla="*/ 517059 w 959139"/>
                <a:gd name="connsiteY94" fmla="*/ 150237 h 844118"/>
                <a:gd name="connsiteX95" fmla="*/ 544035 w 959139"/>
                <a:gd name="connsiteY95" fmla="*/ 150237 h 844118"/>
                <a:gd name="connsiteX96" fmla="*/ 629453 w 959139"/>
                <a:gd name="connsiteY96" fmla="*/ 319590 h 844118"/>
                <a:gd name="connsiteX97" fmla="*/ 644441 w 959139"/>
                <a:gd name="connsiteY97" fmla="*/ 632810 h 844118"/>
                <a:gd name="connsiteX98" fmla="*/ 695394 w 959139"/>
                <a:gd name="connsiteY98" fmla="*/ 632810 h 844118"/>
                <a:gd name="connsiteX99" fmla="*/ 443623 w 959139"/>
                <a:gd name="connsiteY99" fmla="*/ 670275 h 844118"/>
                <a:gd name="connsiteX100" fmla="*/ 929178 w 959139"/>
                <a:gd name="connsiteY100" fmla="*/ 602835 h 844118"/>
                <a:gd name="connsiteX101" fmla="*/ 659418 w 959139"/>
                <a:gd name="connsiteY101" fmla="*/ 602835 h 844118"/>
                <a:gd name="connsiteX102" fmla="*/ 659418 w 959139"/>
                <a:gd name="connsiteY102" fmla="*/ 542889 h 844118"/>
                <a:gd name="connsiteX103" fmla="*/ 929178 w 959139"/>
                <a:gd name="connsiteY103" fmla="*/ 542889 h 844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959139" h="844118">
                  <a:moveTo>
                    <a:pt x="944163" y="156238"/>
                  </a:moveTo>
                  <a:lnTo>
                    <a:pt x="644428" y="156238"/>
                  </a:lnTo>
                  <a:cubicBezTo>
                    <a:pt x="635436" y="156238"/>
                    <a:pt x="629440" y="162233"/>
                    <a:pt x="629440" y="171226"/>
                  </a:cubicBezTo>
                  <a:lnTo>
                    <a:pt x="629440" y="252156"/>
                  </a:lnTo>
                  <a:lnTo>
                    <a:pt x="570991" y="133759"/>
                  </a:lnTo>
                  <a:lnTo>
                    <a:pt x="593471" y="49832"/>
                  </a:lnTo>
                  <a:cubicBezTo>
                    <a:pt x="599466" y="24351"/>
                    <a:pt x="573992" y="3371"/>
                    <a:pt x="551512" y="15358"/>
                  </a:cubicBezTo>
                  <a:lnTo>
                    <a:pt x="527534" y="27349"/>
                  </a:lnTo>
                  <a:lnTo>
                    <a:pt x="478078" y="3371"/>
                  </a:lnTo>
                  <a:cubicBezTo>
                    <a:pt x="470585" y="-1124"/>
                    <a:pt x="460096" y="-1124"/>
                    <a:pt x="451102" y="3371"/>
                  </a:cubicBezTo>
                  <a:lnTo>
                    <a:pt x="404641" y="27349"/>
                  </a:lnTo>
                  <a:lnTo>
                    <a:pt x="380663" y="15358"/>
                  </a:lnTo>
                  <a:cubicBezTo>
                    <a:pt x="358183" y="4868"/>
                    <a:pt x="331208" y="25849"/>
                    <a:pt x="338700" y="51327"/>
                  </a:cubicBezTo>
                  <a:lnTo>
                    <a:pt x="362678" y="135253"/>
                  </a:lnTo>
                  <a:cubicBezTo>
                    <a:pt x="344696" y="171221"/>
                    <a:pt x="244281" y="363046"/>
                    <a:pt x="202318" y="487436"/>
                  </a:cubicBezTo>
                  <a:cubicBezTo>
                    <a:pt x="185832" y="491930"/>
                    <a:pt x="170844" y="499426"/>
                    <a:pt x="157357" y="505418"/>
                  </a:cubicBezTo>
                  <a:lnTo>
                    <a:pt x="157357" y="493427"/>
                  </a:lnTo>
                  <a:cubicBezTo>
                    <a:pt x="157357" y="476942"/>
                    <a:pt x="143869" y="463455"/>
                    <a:pt x="127384" y="463455"/>
                  </a:cubicBezTo>
                  <a:lnTo>
                    <a:pt x="29973" y="463458"/>
                  </a:lnTo>
                  <a:cubicBezTo>
                    <a:pt x="13487" y="463458"/>
                    <a:pt x="0" y="476945"/>
                    <a:pt x="0" y="493431"/>
                  </a:cubicBezTo>
                  <a:lnTo>
                    <a:pt x="0" y="814140"/>
                  </a:lnTo>
                  <a:cubicBezTo>
                    <a:pt x="0" y="830625"/>
                    <a:pt x="13487" y="844118"/>
                    <a:pt x="29973" y="844118"/>
                  </a:cubicBezTo>
                  <a:lnTo>
                    <a:pt x="127384" y="844118"/>
                  </a:lnTo>
                  <a:cubicBezTo>
                    <a:pt x="164849" y="844118"/>
                    <a:pt x="155860" y="799155"/>
                    <a:pt x="157357" y="796154"/>
                  </a:cubicBezTo>
                  <a:cubicBezTo>
                    <a:pt x="176840" y="791662"/>
                    <a:pt x="199320" y="776677"/>
                    <a:pt x="230790" y="784169"/>
                  </a:cubicBezTo>
                  <a:cubicBezTo>
                    <a:pt x="299729" y="800655"/>
                    <a:pt x="476569" y="830625"/>
                    <a:pt x="515532" y="830625"/>
                  </a:cubicBezTo>
                  <a:cubicBezTo>
                    <a:pt x="526022" y="830625"/>
                    <a:pt x="536512" y="829125"/>
                    <a:pt x="548502" y="827625"/>
                  </a:cubicBezTo>
                  <a:cubicBezTo>
                    <a:pt x="582970" y="820132"/>
                    <a:pt x="749326" y="728715"/>
                    <a:pt x="774804" y="704737"/>
                  </a:cubicBezTo>
                  <a:cubicBezTo>
                    <a:pt x="797284" y="683757"/>
                    <a:pt x="813773" y="659776"/>
                    <a:pt x="797284" y="632801"/>
                  </a:cubicBezTo>
                  <a:lnTo>
                    <a:pt x="944147" y="632808"/>
                  </a:lnTo>
                  <a:cubicBezTo>
                    <a:pt x="953139" y="632808"/>
                    <a:pt x="959140" y="626813"/>
                    <a:pt x="959140" y="617819"/>
                  </a:cubicBezTo>
                  <a:lnTo>
                    <a:pt x="959140" y="171217"/>
                  </a:lnTo>
                  <a:cubicBezTo>
                    <a:pt x="959140" y="162225"/>
                    <a:pt x="953148" y="156229"/>
                    <a:pt x="944147" y="156229"/>
                  </a:cubicBezTo>
                  <a:close/>
                  <a:moveTo>
                    <a:pt x="929178" y="334575"/>
                  </a:moveTo>
                  <a:lnTo>
                    <a:pt x="659418" y="334575"/>
                  </a:lnTo>
                  <a:lnTo>
                    <a:pt x="659418" y="274629"/>
                  </a:lnTo>
                  <a:lnTo>
                    <a:pt x="929178" y="274629"/>
                  </a:lnTo>
                  <a:close/>
                  <a:moveTo>
                    <a:pt x="929178" y="424494"/>
                  </a:moveTo>
                  <a:lnTo>
                    <a:pt x="659418" y="424494"/>
                  </a:lnTo>
                  <a:lnTo>
                    <a:pt x="659418" y="364548"/>
                  </a:lnTo>
                  <a:lnTo>
                    <a:pt x="929178" y="364548"/>
                  </a:lnTo>
                  <a:close/>
                  <a:moveTo>
                    <a:pt x="659418" y="454470"/>
                  </a:moveTo>
                  <a:lnTo>
                    <a:pt x="929178" y="454470"/>
                  </a:lnTo>
                  <a:lnTo>
                    <a:pt x="929178" y="514416"/>
                  </a:lnTo>
                  <a:lnTo>
                    <a:pt x="659418" y="514416"/>
                  </a:lnTo>
                  <a:close/>
                  <a:moveTo>
                    <a:pt x="659418" y="186206"/>
                  </a:moveTo>
                  <a:lnTo>
                    <a:pt x="929178" y="186206"/>
                  </a:lnTo>
                  <a:lnTo>
                    <a:pt x="929178" y="246152"/>
                  </a:lnTo>
                  <a:lnTo>
                    <a:pt x="659418" y="246152"/>
                  </a:lnTo>
                  <a:close/>
                  <a:moveTo>
                    <a:pt x="391154" y="54324"/>
                  </a:moveTo>
                  <a:cubicBezTo>
                    <a:pt x="398646" y="58818"/>
                    <a:pt x="409136" y="58818"/>
                    <a:pt x="418129" y="54324"/>
                  </a:cubicBezTo>
                  <a:lnTo>
                    <a:pt x="464587" y="30346"/>
                  </a:lnTo>
                  <a:lnTo>
                    <a:pt x="512546" y="54324"/>
                  </a:lnTo>
                  <a:cubicBezTo>
                    <a:pt x="520039" y="58818"/>
                    <a:pt x="530528" y="58818"/>
                    <a:pt x="539522" y="54324"/>
                  </a:cubicBezTo>
                  <a:lnTo>
                    <a:pt x="563500" y="42333"/>
                  </a:lnTo>
                  <a:lnTo>
                    <a:pt x="542520" y="121762"/>
                  </a:lnTo>
                  <a:lnTo>
                    <a:pt x="389660" y="121762"/>
                  </a:lnTo>
                  <a:lnTo>
                    <a:pt x="367180" y="43830"/>
                  </a:lnTo>
                  <a:close/>
                  <a:moveTo>
                    <a:pt x="29978" y="815648"/>
                  </a:moveTo>
                  <a:lnTo>
                    <a:pt x="29978" y="493433"/>
                  </a:lnTo>
                  <a:lnTo>
                    <a:pt x="127390" y="493433"/>
                  </a:lnTo>
                  <a:lnTo>
                    <a:pt x="127390" y="814148"/>
                  </a:lnTo>
                  <a:lnTo>
                    <a:pt x="29978" y="814148"/>
                  </a:lnTo>
                  <a:close/>
                  <a:moveTo>
                    <a:pt x="753829" y="682263"/>
                  </a:moveTo>
                  <a:cubicBezTo>
                    <a:pt x="732849" y="703243"/>
                    <a:pt x="570991" y="791670"/>
                    <a:pt x="542521" y="797663"/>
                  </a:cubicBezTo>
                  <a:cubicBezTo>
                    <a:pt x="533529" y="799155"/>
                    <a:pt x="524539" y="800655"/>
                    <a:pt x="517043" y="800655"/>
                  </a:cubicBezTo>
                  <a:cubicBezTo>
                    <a:pt x="482576" y="800655"/>
                    <a:pt x="310228" y="772185"/>
                    <a:pt x="238294" y="755699"/>
                  </a:cubicBezTo>
                  <a:cubicBezTo>
                    <a:pt x="197831" y="746704"/>
                    <a:pt x="169355" y="761692"/>
                    <a:pt x="157365" y="764692"/>
                  </a:cubicBezTo>
                  <a:lnTo>
                    <a:pt x="157368" y="538388"/>
                  </a:lnTo>
                  <a:cubicBezTo>
                    <a:pt x="191836" y="523400"/>
                    <a:pt x="227804" y="487436"/>
                    <a:pt x="400155" y="523400"/>
                  </a:cubicBezTo>
                  <a:cubicBezTo>
                    <a:pt x="461601" y="536887"/>
                    <a:pt x="509559" y="547378"/>
                    <a:pt x="551522" y="565363"/>
                  </a:cubicBezTo>
                  <a:cubicBezTo>
                    <a:pt x="565010" y="569858"/>
                    <a:pt x="568008" y="583345"/>
                    <a:pt x="563513" y="593839"/>
                  </a:cubicBezTo>
                  <a:cubicBezTo>
                    <a:pt x="562016" y="599834"/>
                    <a:pt x="556020" y="604329"/>
                    <a:pt x="536537" y="607326"/>
                  </a:cubicBezTo>
                  <a:cubicBezTo>
                    <a:pt x="505064" y="610323"/>
                    <a:pt x="482587" y="610323"/>
                    <a:pt x="449619" y="605829"/>
                  </a:cubicBezTo>
                  <a:cubicBezTo>
                    <a:pt x="388172" y="599834"/>
                    <a:pt x="376185" y="691255"/>
                    <a:pt x="439128" y="700248"/>
                  </a:cubicBezTo>
                  <a:cubicBezTo>
                    <a:pt x="539540" y="713735"/>
                    <a:pt x="644444" y="695753"/>
                    <a:pt x="737363" y="644797"/>
                  </a:cubicBezTo>
                  <a:cubicBezTo>
                    <a:pt x="744856" y="640303"/>
                    <a:pt x="752351" y="638802"/>
                    <a:pt x="759843" y="641800"/>
                  </a:cubicBezTo>
                  <a:cubicBezTo>
                    <a:pt x="785318" y="649292"/>
                    <a:pt x="771830" y="665778"/>
                    <a:pt x="753845" y="682263"/>
                  </a:cubicBezTo>
                  <a:close/>
                  <a:moveTo>
                    <a:pt x="443610" y="670273"/>
                  </a:moveTo>
                  <a:cubicBezTo>
                    <a:pt x="419632" y="667275"/>
                    <a:pt x="425628" y="632808"/>
                    <a:pt x="448105" y="635805"/>
                  </a:cubicBezTo>
                  <a:cubicBezTo>
                    <a:pt x="482572" y="640300"/>
                    <a:pt x="506553" y="640300"/>
                    <a:pt x="541024" y="637302"/>
                  </a:cubicBezTo>
                  <a:cubicBezTo>
                    <a:pt x="612960" y="628310"/>
                    <a:pt x="608462" y="554876"/>
                    <a:pt x="562004" y="538391"/>
                  </a:cubicBezTo>
                  <a:cubicBezTo>
                    <a:pt x="514045" y="518908"/>
                    <a:pt x="458600" y="506917"/>
                    <a:pt x="406144" y="494930"/>
                  </a:cubicBezTo>
                  <a:cubicBezTo>
                    <a:pt x="338706" y="481443"/>
                    <a:pt x="293747" y="475447"/>
                    <a:pt x="235299" y="481443"/>
                  </a:cubicBezTo>
                  <a:cubicBezTo>
                    <a:pt x="277262" y="363045"/>
                    <a:pt x="367181" y="189200"/>
                    <a:pt x="386667" y="150237"/>
                  </a:cubicBezTo>
                  <a:lnTo>
                    <a:pt x="412144" y="150237"/>
                  </a:lnTo>
                  <a:lnTo>
                    <a:pt x="412144" y="324083"/>
                  </a:lnTo>
                  <a:cubicBezTo>
                    <a:pt x="412144" y="333075"/>
                    <a:pt x="418139" y="339071"/>
                    <a:pt x="427133" y="339071"/>
                  </a:cubicBezTo>
                  <a:cubicBezTo>
                    <a:pt x="436126" y="339071"/>
                    <a:pt x="442121" y="333076"/>
                    <a:pt x="442121" y="324083"/>
                  </a:cubicBezTo>
                  <a:lnTo>
                    <a:pt x="442121" y="150237"/>
                  </a:lnTo>
                  <a:lnTo>
                    <a:pt x="487082" y="150237"/>
                  </a:lnTo>
                  <a:lnTo>
                    <a:pt x="487082" y="234164"/>
                  </a:lnTo>
                  <a:cubicBezTo>
                    <a:pt x="487082" y="243156"/>
                    <a:pt x="493078" y="249152"/>
                    <a:pt x="502071" y="249152"/>
                  </a:cubicBezTo>
                  <a:cubicBezTo>
                    <a:pt x="511064" y="249152"/>
                    <a:pt x="517059" y="243157"/>
                    <a:pt x="517059" y="234164"/>
                  </a:cubicBezTo>
                  <a:lnTo>
                    <a:pt x="517059" y="150237"/>
                  </a:lnTo>
                  <a:lnTo>
                    <a:pt x="544035" y="150237"/>
                  </a:lnTo>
                  <a:lnTo>
                    <a:pt x="629453" y="319590"/>
                  </a:lnTo>
                  <a:cubicBezTo>
                    <a:pt x="629453" y="637302"/>
                    <a:pt x="624958" y="632810"/>
                    <a:pt x="644441" y="632810"/>
                  </a:cubicBezTo>
                  <a:lnTo>
                    <a:pt x="695394" y="632810"/>
                  </a:lnTo>
                  <a:cubicBezTo>
                    <a:pt x="614468" y="670275"/>
                    <a:pt x="527549" y="682266"/>
                    <a:pt x="443623" y="670275"/>
                  </a:cubicBezTo>
                  <a:close/>
                  <a:moveTo>
                    <a:pt x="929178" y="602835"/>
                  </a:moveTo>
                  <a:lnTo>
                    <a:pt x="659418" y="602835"/>
                  </a:lnTo>
                  <a:lnTo>
                    <a:pt x="659418" y="542889"/>
                  </a:lnTo>
                  <a:lnTo>
                    <a:pt x="929178" y="542889"/>
                  </a:lnTo>
                  <a:close/>
                </a:path>
              </a:pathLst>
            </a:custGeom>
            <a:grpFill/>
            <a:ln w="8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5D230770-9603-A065-85AE-B22321DA9A75}"/>
                </a:ext>
              </a:extLst>
            </p:cNvPr>
            <p:cNvSpPr/>
            <p:nvPr/>
          </p:nvSpPr>
          <p:spPr>
            <a:xfrm>
              <a:off x="998044" y="5797199"/>
              <a:ext cx="29972" cy="29972"/>
            </a:xfrm>
            <a:custGeom>
              <a:avLst/>
              <a:gdLst>
                <a:gd name="connsiteX0" fmla="*/ 0 w 29972"/>
                <a:gd name="connsiteY0" fmla="*/ 0 h 29972"/>
                <a:gd name="connsiteX1" fmla="*/ 29973 w 29972"/>
                <a:gd name="connsiteY1" fmla="*/ 0 h 29972"/>
                <a:gd name="connsiteX2" fmla="*/ 29973 w 29972"/>
                <a:gd name="connsiteY2" fmla="*/ 29973 h 29972"/>
                <a:gd name="connsiteX3" fmla="*/ 0 w 29972"/>
                <a:gd name="connsiteY3" fmla="*/ 29973 h 29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72" h="29972">
                  <a:moveTo>
                    <a:pt x="0" y="0"/>
                  </a:moveTo>
                  <a:lnTo>
                    <a:pt x="29973" y="0"/>
                  </a:lnTo>
                  <a:lnTo>
                    <a:pt x="29973" y="29973"/>
                  </a:lnTo>
                  <a:lnTo>
                    <a:pt x="0" y="29973"/>
                  </a:lnTo>
                  <a:close/>
                </a:path>
              </a:pathLst>
            </a:custGeom>
            <a:grpFill/>
            <a:ln w="8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E1590D78-D3C8-243C-FD10-AF27BBD54AE1}"/>
                </a:ext>
              </a:extLst>
            </p:cNvPr>
            <p:cNvSpPr/>
            <p:nvPr/>
          </p:nvSpPr>
          <p:spPr>
            <a:xfrm>
              <a:off x="1087963" y="5797199"/>
              <a:ext cx="29972" cy="29972"/>
            </a:xfrm>
            <a:custGeom>
              <a:avLst/>
              <a:gdLst>
                <a:gd name="connsiteX0" fmla="*/ 0 w 29972"/>
                <a:gd name="connsiteY0" fmla="*/ 0 h 29972"/>
                <a:gd name="connsiteX1" fmla="*/ 29973 w 29972"/>
                <a:gd name="connsiteY1" fmla="*/ 0 h 29972"/>
                <a:gd name="connsiteX2" fmla="*/ 29973 w 29972"/>
                <a:gd name="connsiteY2" fmla="*/ 29973 h 29972"/>
                <a:gd name="connsiteX3" fmla="*/ 0 w 29972"/>
                <a:gd name="connsiteY3" fmla="*/ 29973 h 29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72" h="29972">
                  <a:moveTo>
                    <a:pt x="0" y="0"/>
                  </a:moveTo>
                  <a:lnTo>
                    <a:pt x="29973" y="0"/>
                  </a:lnTo>
                  <a:lnTo>
                    <a:pt x="29973" y="29973"/>
                  </a:lnTo>
                  <a:lnTo>
                    <a:pt x="0" y="29973"/>
                  </a:lnTo>
                  <a:close/>
                </a:path>
              </a:pathLst>
            </a:custGeom>
            <a:grpFill/>
            <a:ln w="8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4EF73A3E-23F8-7F0B-99D7-AAA6F3FDE9B8}"/>
                </a:ext>
              </a:extLst>
            </p:cNvPr>
            <p:cNvSpPr/>
            <p:nvPr/>
          </p:nvSpPr>
          <p:spPr>
            <a:xfrm>
              <a:off x="1177890" y="5797199"/>
              <a:ext cx="29972" cy="29972"/>
            </a:xfrm>
            <a:custGeom>
              <a:avLst/>
              <a:gdLst>
                <a:gd name="connsiteX0" fmla="*/ 0 w 29972"/>
                <a:gd name="connsiteY0" fmla="*/ 0 h 29972"/>
                <a:gd name="connsiteX1" fmla="*/ 29973 w 29972"/>
                <a:gd name="connsiteY1" fmla="*/ 0 h 29972"/>
                <a:gd name="connsiteX2" fmla="*/ 29973 w 29972"/>
                <a:gd name="connsiteY2" fmla="*/ 29973 h 29972"/>
                <a:gd name="connsiteX3" fmla="*/ 0 w 29972"/>
                <a:gd name="connsiteY3" fmla="*/ 29973 h 29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72" h="29972">
                  <a:moveTo>
                    <a:pt x="0" y="0"/>
                  </a:moveTo>
                  <a:lnTo>
                    <a:pt x="29973" y="0"/>
                  </a:lnTo>
                  <a:lnTo>
                    <a:pt x="29973" y="29973"/>
                  </a:lnTo>
                  <a:lnTo>
                    <a:pt x="0" y="29973"/>
                  </a:lnTo>
                  <a:close/>
                </a:path>
              </a:pathLst>
            </a:custGeom>
            <a:grpFill/>
            <a:ln w="8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graphicFrame>
        <p:nvGraphicFramePr>
          <p:cNvPr id="102" name="Graphique 101">
            <a:extLst>
              <a:ext uri="{FF2B5EF4-FFF2-40B4-BE49-F238E27FC236}">
                <a16:creationId xmlns:a16="http://schemas.microsoft.com/office/drawing/2014/main" id="{43FAA48F-F488-FCF0-9EFA-1B573F178CCF}"/>
              </a:ext>
            </a:extLst>
          </p:cNvPr>
          <p:cNvGraphicFramePr/>
          <p:nvPr/>
        </p:nvGraphicFramePr>
        <p:xfrm>
          <a:off x="8148621" y="2589999"/>
          <a:ext cx="3640608" cy="3017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3" name="ZoneTexte 102">
            <a:extLst>
              <a:ext uri="{FF2B5EF4-FFF2-40B4-BE49-F238E27FC236}">
                <a16:creationId xmlns:a16="http://schemas.microsoft.com/office/drawing/2014/main" id="{14554AAD-65E9-11D7-D280-EE007B5B014F}"/>
              </a:ext>
            </a:extLst>
          </p:cNvPr>
          <p:cNvSpPr txBox="1"/>
          <p:nvPr/>
        </p:nvSpPr>
        <p:spPr>
          <a:xfrm>
            <a:off x="9190118" y="3880984"/>
            <a:ext cx="6928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€2.1bn</a:t>
            </a:r>
          </a:p>
        </p:txBody>
      </p:sp>
      <p:sp>
        <p:nvSpPr>
          <p:cNvPr id="104" name="ZoneTexte 103">
            <a:extLst>
              <a:ext uri="{FF2B5EF4-FFF2-40B4-BE49-F238E27FC236}">
                <a16:creationId xmlns:a16="http://schemas.microsoft.com/office/drawing/2014/main" id="{6E378ED8-157E-EFE9-B58E-2FFC2BFAC016}"/>
              </a:ext>
            </a:extLst>
          </p:cNvPr>
          <p:cNvSpPr txBox="1"/>
          <p:nvPr/>
        </p:nvSpPr>
        <p:spPr>
          <a:xfrm>
            <a:off x="9988182" y="3468390"/>
            <a:ext cx="777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€3.0bn</a:t>
            </a:r>
          </a:p>
        </p:txBody>
      </p:sp>
      <p:sp>
        <p:nvSpPr>
          <p:cNvPr id="105" name="ZoneTexte 104">
            <a:extLst>
              <a:ext uri="{FF2B5EF4-FFF2-40B4-BE49-F238E27FC236}">
                <a16:creationId xmlns:a16="http://schemas.microsoft.com/office/drawing/2014/main" id="{49D84E50-52F9-FC22-1E05-99987124BDAB}"/>
              </a:ext>
            </a:extLst>
          </p:cNvPr>
          <p:cNvSpPr txBox="1"/>
          <p:nvPr/>
        </p:nvSpPr>
        <p:spPr>
          <a:xfrm>
            <a:off x="10831031" y="2722921"/>
            <a:ext cx="7505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€4.4bn</a:t>
            </a:r>
          </a:p>
        </p:txBody>
      </p:sp>
      <p:cxnSp>
        <p:nvCxnSpPr>
          <p:cNvPr id="106" name="Connecteur droit avec flèche 105">
            <a:extLst>
              <a:ext uri="{FF2B5EF4-FFF2-40B4-BE49-F238E27FC236}">
                <a16:creationId xmlns:a16="http://schemas.microsoft.com/office/drawing/2014/main" id="{56B1F2D5-07A6-50F7-A165-7E0754DE9DDD}"/>
              </a:ext>
            </a:extLst>
          </p:cNvPr>
          <p:cNvCxnSpPr>
            <a:cxnSpLocks/>
          </p:cNvCxnSpPr>
          <p:nvPr/>
        </p:nvCxnSpPr>
        <p:spPr>
          <a:xfrm flipV="1">
            <a:off x="9341033" y="2369873"/>
            <a:ext cx="1861684" cy="10410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ee4pFootnotes">
            <a:extLst>
              <a:ext uri="{FF2B5EF4-FFF2-40B4-BE49-F238E27FC236}">
                <a16:creationId xmlns:a16="http://schemas.microsoft.com/office/drawing/2014/main" id="{56842CF7-FE39-59C3-7BEE-E0CE2A4D12AD}"/>
              </a:ext>
            </a:extLst>
          </p:cNvPr>
          <p:cNvSpPr>
            <a:spLocks/>
          </p:cNvSpPr>
          <p:nvPr/>
        </p:nvSpPr>
        <p:spPr bwMode="auto">
          <a:xfrm>
            <a:off x="648000" y="6212306"/>
            <a:ext cx="8485746" cy="1108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ctr" anchorCtr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1) Structural benefits includes revenue initiatives and all operating cost efficiency gains, excluding CPI &amp; CLA effects. Adjusted for capacity evolutions</a:t>
            </a:r>
          </a:p>
        </p:txBody>
      </p:sp>
    </p:spTree>
    <p:extLst>
      <p:ext uri="{BB962C8B-B14F-4D97-AF65-F5344CB8AC3E}">
        <p14:creationId xmlns:p14="http://schemas.microsoft.com/office/powerpoint/2010/main" val="9332465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60B823DB-132C-EA3D-8A98-B65728CEC1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903" b="24312"/>
          <a:stretch/>
        </p:blipFill>
        <p:spPr>
          <a:xfrm>
            <a:off x="6235612" y="1819275"/>
            <a:ext cx="5366474" cy="1995828"/>
          </a:xfrm>
          <a:prstGeom prst="rect">
            <a:avLst/>
          </a:prstGeom>
        </p:spPr>
      </p:pic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86C1C3D8-8063-CB04-29B2-6F87A3F623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395" imgH="396" progId="TCLayout.ActiveDocument.1">
                  <p:embed/>
                </p:oleObj>
              </mc:Choice>
              <mc:Fallback>
                <p:oleObj name="Diapositive think-cell" r:id="rId5" imgW="395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C1C3D8-8063-CB04-29B2-6F87A3F623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6" descr="Busy Airport Terminal; Handsome Businessman Uses Smartphone">
            <a:extLst>
              <a:ext uri="{FF2B5EF4-FFF2-40B4-BE49-F238E27FC236}">
                <a16:creationId xmlns:a16="http://schemas.microsoft.com/office/drawing/2014/main" id="{03891040-90C8-1AAF-3A77-7F5FEFF6FA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76161" y="1819275"/>
            <a:ext cx="5358280" cy="1557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2">
            <a:extLst>
              <a:ext uri="{FF2B5EF4-FFF2-40B4-BE49-F238E27FC236}">
                <a16:creationId xmlns:a16="http://schemas.microsoft.com/office/drawing/2014/main" id="{E9802C15-094D-57FE-9122-0E9E60409C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4" r="-164"/>
          <a:stretch/>
        </p:blipFill>
        <p:spPr bwMode="auto">
          <a:xfrm>
            <a:off x="6235873" y="3984890"/>
            <a:ext cx="5353316" cy="1557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C4BA8EE0-45D6-31C0-B908-C269FE7D3C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b="1" dirty="0">
                <a:latin typeface="+mn-lt"/>
              </a:rPr>
              <a:t>We have </a:t>
            </a:r>
            <a:r>
              <a:rPr lang="en-150" b="1" dirty="0">
                <a:latin typeface="+mn-lt"/>
              </a:rPr>
              <a:t>embarked on</a:t>
            </a:r>
            <a:r>
              <a:rPr lang="en-US" b="1" dirty="0">
                <a:latin typeface="+mn-lt"/>
              </a:rPr>
              <a:t> A successful trajectory towards a more sustainable growth</a:t>
            </a:r>
            <a:endParaRPr lang="fr-FR" b="1" dirty="0"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2670E2D-0C4F-9C78-DBE7-2727A28B7357}"/>
              </a:ext>
            </a:extLst>
          </p:cNvPr>
          <p:cNvSpPr/>
          <p:nvPr/>
        </p:nvSpPr>
        <p:spPr>
          <a:xfrm>
            <a:off x="676161" y="3168772"/>
            <a:ext cx="5356799" cy="646331"/>
          </a:xfrm>
          <a:prstGeom prst="rect">
            <a:avLst/>
          </a:prstGeom>
          <a:solidFill>
            <a:srgbClr val="F6F8F9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 Light"/>
                <a:ea typeface="+mn-ea"/>
                <a:cs typeface="Arial" panose="020B0604020202020204" pitchFamily="34" charset="0"/>
              </a:rPr>
              <a:t>Optimized the basic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Arial" panose="020B0604020202020204" pitchFamily="34" charset="0"/>
              </a:rPr>
              <a:t>A simplified &amp; optimized operating mod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C3BDF70-66EE-4A05-6A72-6D978DCF013A}"/>
              </a:ext>
            </a:extLst>
          </p:cNvPr>
          <p:cNvSpPr/>
          <p:nvPr/>
        </p:nvSpPr>
        <p:spPr>
          <a:xfrm>
            <a:off x="6234131" y="3168772"/>
            <a:ext cx="5356800" cy="646331"/>
          </a:xfrm>
          <a:prstGeom prst="rect">
            <a:avLst/>
          </a:prstGeom>
          <a:solidFill>
            <a:srgbClr val="F6F8F9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 Light"/>
                <a:ea typeface="+mn-ea"/>
                <a:cs typeface="Arial" panose="020B0604020202020204" pitchFamily="34" charset="0"/>
              </a:rPr>
              <a:t>Stabilized social relatio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51039"/>
                </a:solidFill>
                <a:latin typeface="Montserrat"/>
                <a:cs typeface="Arial" panose="020B0604020202020204" pitchFamily="34" charset="0"/>
              </a:rPr>
              <a:t>Our key values: Trust, Respect, Transparency, Confidentiality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756A2BC-9028-100C-BC13-AEFB7DE3DC59}"/>
              </a:ext>
            </a:extLst>
          </p:cNvPr>
          <p:cNvSpPr/>
          <p:nvPr/>
        </p:nvSpPr>
        <p:spPr>
          <a:xfrm>
            <a:off x="676161" y="5333087"/>
            <a:ext cx="5358280" cy="646331"/>
          </a:xfrm>
          <a:prstGeom prst="rect">
            <a:avLst/>
          </a:prstGeom>
          <a:solidFill>
            <a:srgbClr val="F6F8F9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 Light"/>
                <a:ea typeface="+mn-ea"/>
                <a:cs typeface="Arial" panose="020B0604020202020204" pitchFamily="34" charset="0"/>
              </a:rPr>
              <a:t>Sustainabili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Arial" panose="020B0604020202020204" pitchFamily="34" charset="0"/>
              </a:rPr>
              <a:t>Achievements &amp; commitmen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BC5C8A6-E267-68B8-44C6-8D113277CE64}"/>
              </a:ext>
            </a:extLst>
          </p:cNvPr>
          <p:cNvSpPr/>
          <p:nvPr/>
        </p:nvSpPr>
        <p:spPr>
          <a:xfrm>
            <a:off x="6234131" y="5333087"/>
            <a:ext cx="5355058" cy="646331"/>
          </a:xfrm>
          <a:prstGeom prst="rect">
            <a:avLst/>
          </a:prstGeom>
          <a:solidFill>
            <a:srgbClr val="F6F8F9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 Light"/>
                <a:ea typeface="+mn-ea"/>
                <a:cs typeface="Arial" panose="020B0604020202020204" pitchFamily="34" charset="0"/>
              </a:rPr>
              <a:t>Ongoing transform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Arial" panose="020B0604020202020204" pitchFamily="34" charset="0"/>
              </a:rPr>
              <a:t>A successful delivery, including significant cost savings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A5A71410-43CB-D552-21BC-BF97775FB0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5" t="47392" r="65" b="14886"/>
          <a:stretch/>
        </p:blipFill>
        <p:spPr bwMode="auto">
          <a:xfrm>
            <a:off x="676161" y="3984890"/>
            <a:ext cx="5353316" cy="1348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67284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" name="think-cell data - do not delete" hidden="1">
            <a:extLst>
              <a:ext uri="{FF2B5EF4-FFF2-40B4-BE49-F238E27FC236}">
                <a16:creationId xmlns:a16="http://schemas.microsoft.com/office/drawing/2014/main" id="{2AD3894E-80C6-89BA-FF65-6410217FB3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8705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7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D3894E-80C6-89BA-FF65-6410217FB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>
            <a:extLst>
              <a:ext uri="{FF2B5EF4-FFF2-40B4-BE49-F238E27FC236}">
                <a16:creationId xmlns:a16="http://schemas.microsoft.com/office/drawing/2014/main" id="{69D509E4-BD3B-97EE-2F26-7DA9C3D99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 sz="2000" b="1" dirty="0">
                <a:latin typeface="+mn-lt"/>
              </a:rPr>
              <a:t>Major levers to reach air France-KLM’s emission reduction targets by 2030</a:t>
            </a:r>
            <a:endParaRPr lang="fr-FR" sz="2000" b="1" dirty="0">
              <a:latin typeface="+mn-lt"/>
            </a:endParaRPr>
          </a:p>
        </p:txBody>
      </p:sp>
      <p:graphicFrame>
        <p:nvGraphicFramePr>
          <p:cNvPr id="7" name="Chart 3">
            <a:extLst>
              <a:ext uri="{FF2B5EF4-FFF2-40B4-BE49-F238E27FC236}">
                <a16:creationId xmlns:a16="http://schemas.microsoft.com/office/drawing/2014/main" id="{42528D7B-9887-C41C-F3B6-5BA59F41CFA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216009"/>
              </p:ext>
            </p:extLst>
          </p:nvPr>
        </p:nvGraphicFramePr>
        <p:xfrm>
          <a:off x="7061200" y="1733550"/>
          <a:ext cx="1400175" cy="4165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2" name="Tableau 155">
            <a:extLst>
              <a:ext uri="{FF2B5EF4-FFF2-40B4-BE49-F238E27FC236}">
                <a16:creationId xmlns:a16="http://schemas.microsoft.com/office/drawing/2014/main" id="{B531624D-A4D2-CF08-1496-2DA15831AE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8204897"/>
              </p:ext>
            </p:extLst>
          </p:nvPr>
        </p:nvGraphicFramePr>
        <p:xfrm>
          <a:off x="8934673" y="2135704"/>
          <a:ext cx="2539547" cy="38732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9547">
                  <a:extLst>
                    <a:ext uri="{9D8B030D-6E8A-4147-A177-3AD203B41FA5}">
                      <a16:colId xmlns:a16="http://schemas.microsoft.com/office/drawing/2014/main" val="3295758233"/>
                    </a:ext>
                  </a:extLst>
                </a:gridCol>
              </a:tblGrid>
              <a:tr h="2041003">
                <a:tc>
                  <a:txBody>
                    <a:bodyPr/>
                    <a:lstStyle/>
                    <a:p>
                      <a:pPr rtl="0"/>
                      <a:r>
                        <a:rPr lang="en-US" sz="1800" b="1" dirty="0">
                          <a:solidFill>
                            <a:schemeClr val="accent1"/>
                          </a:solidFill>
                        </a:rPr>
                        <a:t>Fleet renewal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1689685"/>
                  </a:ext>
                </a:extLst>
              </a:tr>
              <a:tr h="11594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rgbClr val="81C645"/>
                          </a:solidFill>
                        </a:rPr>
                        <a:t>Sustainable Aviation Fuel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9633675"/>
                  </a:ext>
                </a:extLst>
              </a:tr>
              <a:tr h="672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dirty="0">
                        <a:solidFill>
                          <a:srgbClr val="27A1D9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880525"/>
                  </a:ext>
                </a:extLst>
              </a:tr>
            </a:tbl>
          </a:graphicData>
        </a:graphic>
      </p:graphicFrame>
      <p:grpSp>
        <p:nvGrpSpPr>
          <p:cNvPr id="10" name="Groupe 9">
            <a:extLst>
              <a:ext uri="{FF2B5EF4-FFF2-40B4-BE49-F238E27FC236}">
                <a16:creationId xmlns:a16="http://schemas.microsoft.com/office/drawing/2014/main" id="{E3207A48-5654-2A44-EB0A-725C67FAC788}"/>
              </a:ext>
            </a:extLst>
          </p:cNvPr>
          <p:cNvGrpSpPr/>
          <p:nvPr/>
        </p:nvGrpSpPr>
        <p:grpSpPr>
          <a:xfrm>
            <a:off x="8275401" y="2895308"/>
            <a:ext cx="461963" cy="461963"/>
            <a:chOff x="8276988" y="2579530"/>
            <a:chExt cx="461963" cy="461963"/>
          </a:xfrm>
        </p:grpSpPr>
        <p:sp>
          <p:nvSpPr>
            <p:cNvPr id="42" name="Cercle : creux 41">
              <a:extLst>
                <a:ext uri="{FF2B5EF4-FFF2-40B4-BE49-F238E27FC236}">
                  <a16:creationId xmlns:a16="http://schemas.microsoft.com/office/drawing/2014/main" id="{DEA75C13-DF82-2EB7-7830-9DAD9FD6B473}"/>
                </a:ext>
              </a:extLst>
            </p:cNvPr>
            <p:cNvSpPr/>
            <p:nvPr/>
          </p:nvSpPr>
          <p:spPr>
            <a:xfrm>
              <a:off x="8276988" y="2579530"/>
              <a:ext cx="461963" cy="461963"/>
            </a:xfrm>
            <a:prstGeom prst="donut">
              <a:avLst>
                <a:gd name="adj" fmla="val 3654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pic>
          <p:nvPicPr>
            <p:cNvPr id="43" name="Graphique 42" descr="Avion avec un remplissage uni">
              <a:extLst>
                <a:ext uri="{FF2B5EF4-FFF2-40B4-BE49-F238E27FC236}">
                  <a16:creationId xmlns:a16="http://schemas.microsoft.com/office/drawing/2014/main" id="{892A1555-16FA-7E70-8528-9FA161DCAC7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0488" y="2643030"/>
              <a:ext cx="334962" cy="334963"/>
            </a:xfrm>
            <a:prstGeom prst="rect">
              <a:avLst/>
            </a:prstGeom>
          </p:spPr>
        </p:pic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877A305C-7259-C487-C9B2-067B69E148BE}"/>
              </a:ext>
            </a:extLst>
          </p:cNvPr>
          <p:cNvGrpSpPr/>
          <p:nvPr/>
        </p:nvGrpSpPr>
        <p:grpSpPr>
          <a:xfrm>
            <a:off x="8259486" y="4549947"/>
            <a:ext cx="461963" cy="461963"/>
            <a:chOff x="8259486" y="4549947"/>
            <a:chExt cx="461963" cy="461963"/>
          </a:xfrm>
        </p:grpSpPr>
        <p:sp>
          <p:nvSpPr>
            <p:cNvPr id="46" name="Cercle : creux 45">
              <a:extLst>
                <a:ext uri="{FF2B5EF4-FFF2-40B4-BE49-F238E27FC236}">
                  <a16:creationId xmlns:a16="http://schemas.microsoft.com/office/drawing/2014/main" id="{9BEBB245-A2D5-20BE-B3B8-477D8B41D251}"/>
                </a:ext>
              </a:extLst>
            </p:cNvPr>
            <p:cNvSpPr/>
            <p:nvPr/>
          </p:nvSpPr>
          <p:spPr>
            <a:xfrm>
              <a:off x="8259486" y="4549947"/>
              <a:ext cx="461963" cy="461963"/>
            </a:xfrm>
            <a:prstGeom prst="donut">
              <a:avLst>
                <a:gd name="adj" fmla="val 3654"/>
              </a:avLst>
            </a:prstGeom>
            <a:solidFill>
              <a:schemeClr val="accent6"/>
            </a:solidFill>
            <a:ln>
              <a:solidFill>
                <a:srgbClr val="81C6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grpSp>
          <p:nvGrpSpPr>
            <p:cNvPr id="47" name="Group 81">
              <a:extLst>
                <a:ext uri="{FF2B5EF4-FFF2-40B4-BE49-F238E27FC236}">
                  <a16:creationId xmlns:a16="http://schemas.microsoft.com/office/drawing/2014/main" id="{B4C71C4D-6265-C2D2-33E6-7D5AE0A9BFC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79971" y="4574391"/>
              <a:ext cx="398463" cy="398463"/>
              <a:chOff x="5273675" y="2606675"/>
              <a:chExt cx="1644650" cy="1644650"/>
            </a:xfrm>
          </p:grpSpPr>
          <p:sp>
            <p:nvSpPr>
              <p:cNvPr id="48" name="AutoShape 3">
                <a:extLst>
                  <a:ext uri="{FF2B5EF4-FFF2-40B4-BE49-F238E27FC236}">
                    <a16:creationId xmlns:a16="http://schemas.microsoft.com/office/drawing/2014/main" id="{FA41F079-6CE7-9A90-79EE-5B23B2B2FBBD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22531" tIns="11266" rIns="22531" bIns="112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endParaRPr>
              </a:p>
            </p:txBody>
          </p:sp>
          <p:sp>
            <p:nvSpPr>
              <p:cNvPr id="49" name="Freeform 11">
                <a:extLst>
                  <a:ext uri="{FF2B5EF4-FFF2-40B4-BE49-F238E27FC236}">
                    <a16:creationId xmlns:a16="http://schemas.microsoft.com/office/drawing/2014/main" id="{74864A7B-4126-7C76-D5A0-40890258F4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5585" y="2880053"/>
                <a:ext cx="782637" cy="1038225"/>
              </a:xfrm>
              <a:custGeom>
                <a:avLst/>
                <a:gdLst>
                  <a:gd name="T0" fmla="*/ 555 w 1097"/>
                  <a:gd name="T1" fmla="*/ 0 h 1453"/>
                  <a:gd name="T2" fmla="*/ 600 w 1097"/>
                  <a:gd name="T3" fmla="*/ 24 h 1453"/>
                  <a:gd name="T4" fmla="*/ 878 w 1097"/>
                  <a:gd name="T5" fmla="*/ 428 h 1453"/>
                  <a:gd name="T6" fmla="*/ 1049 w 1097"/>
                  <a:gd name="T7" fmla="*/ 731 h 1453"/>
                  <a:gd name="T8" fmla="*/ 1095 w 1097"/>
                  <a:gd name="T9" fmla="*/ 935 h 1453"/>
                  <a:gd name="T10" fmla="*/ 842 w 1097"/>
                  <a:gd name="T11" fmla="*/ 1375 h 1453"/>
                  <a:gd name="T12" fmla="*/ 523 w 1097"/>
                  <a:gd name="T13" fmla="*/ 1453 h 1453"/>
                  <a:gd name="T14" fmla="*/ 69 w 1097"/>
                  <a:gd name="T15" fmla="*/ 1166 h 1453"/>
                  <a:gd name="T16" fmla="*/ 48 w 1097"/>
                  <a:gd name="T17" fmla="*/ 769 h 1453"/>
                  <a:gd name="T18" fmla="*/ 213 w 1097"/>
                  <a:gd name="T19" fmla="*/ 456 h 1453"/>
                  <a:gd name="T20" fmla="*/ 445 w 1097"/>
                  <a:gd name="T21" fmla="*/ 125 h 1453"/>
                  <a:gd name="T22" fmla="*/ 510 w 1097"/>
                  <a:gd name="T23" fmla="*/ 26 h 1453"/>
                  <a:gd name="T24" fmla="*/ 555 w 1097"/>
                  <a:gd name="T25" fmla="*/ 0 h 1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7" h="1453">
                    <a:moveTo>
                      <a:pt x="555" y="0"/>
                    </a:moveTo>
                    <a:cubicBezTo>
                      <a:pt x="571" y="0"/>
                      <a:pt x="588" y="8"/>
                      <a:pt x="600" y="24"/>
                    </a:cubicBezTo>
                    <a:cubicBezTo>
                      <a:pt x="693" y="159"/>
                      <a:pt x="786" y="294"/>
                      <a:pt x="878" y="428"/>
                    </a:cubicBezTo>
                    <a:cubicBezTo>
                      <a:pt x="945" y="524"/>
                      <a:pt x="1007" y="622"/>
                      <a:pt x="1049" y="731"/>
                    </a:cubicBezTo>
                    <a:cubicBezTo>
                      <a:pt x="1075" y="797"/>
                      <a:pt x="1094" y="865"/>
                      <a:pt x="1095" y="935"/>
                    </a:cubicBezTo>
                    <a:cubicBezTo>
                      <a:pt x="1097" y="1130"/>
                      <a:pt x="1007" y="1275"/>
                      <a:pt x="842" y="1375"/>
                    </a:cubicBezTo>
                    <a:cubicBezTo>
                      <a:pt x="756" y="1428"/>
                      <a:pt x="657" y="1453"/>
                      <a:pt x="523" y="1453"/>
                    </a:cubicBezTo>
                    <a:cubicBezTo>
                      <a:pt x="342" y="1444"/>
                      <a:pt x="172" y="1359"/>
                      <a:pt x="69" y="1166"/>
                    </a:cubicBezTo>
                    <a:cubicBezTo>
                      <a:pt x="0" y="1038"/>
                      <a:pt x="2" y="905"/>
                      <a:pt x="48" y="769"/>
                    </a:cubicBezTo>
                    <a:cubicBezTo>
                      <a:pt x="86" y="656"/>
                      <a:pt x="146" y="554"/>
                      <a:pt x="213" y="456"/>
                    </a:cubicBezTo>
                    <a:cubicBezTo>
                      <a:pt x="290" y="346"/>
                      <a:pt x="368" y="236"/>
                      <a:pt x="445" y="125"/>
                    </a:cubicBezTo>
                    <a:cubicBezTo>
                      <a:pt x="468" y="92"/>
                      <a:pt x="488" y="59"/>
                      <a:pt x="510" y="26"/>
                    </a:cubicBezTo>
                    <a:cubicBezTo>
                      <a:pt x="521" y="9"/>
                      <a:pt x="538" y="0"/>
                      <a:pt x="555" y="0"/>
                    </a:cubicBezTo>
                    <a:close/>
                  </a:path>
                </a:pathLst>
              </a:custGeom>
              <a:solidFill>
                <a:srgbClr val="81C6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2531" tIns="11266" rIns="22531" bIns="112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ZoneTexte 22">
            <a:extLst>
              <a:ext uri="{FF2B5EF4-FFF2-40B4-BE49-F238E27FC236}">
                <a16:creationId xmlns:a16="http://schemas.microsoft.com/office/drawing/2014/main" id="{3A67012B-3F15-D95F-CB87-3DB8D2198563}"/>
              </a:ext>
            </a:extLst>
          </p:cNvPr>
          <p:cNvSpPr txBox="1"/>
          <p:nvPr/>
        </p:nvSpPr>
        <p:spPr>
          <a:xfrm>
            <a:off x="7046760" y="5860337"/>
            <a:ext cx="1472490" cy="538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-</a:t>
            </a:r>
            <a:r>
              <a:rPr lang="fr-FR" b="1" kern="0" dirty="0">
                <a:solidFill>
                  <a:srgbClr val="091C62"/>
                </a:solidFill>
                <a:latin typeface="Montserrat Light"/>
              </a:rPr>
              <a:t>17,8</a:t>
            </a:r>
            <a:r>
              <a:rPr kumimoji="0" lang="pl-PL" sz="1800" b="1" i="0" u="none" strike="noStrike" kern="0" cap="none" spc="0" normalizeH="0" baseline="0" noProof="0" dirty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% </a:t>
            </a:r>
            <a:endParaRPr kumimoji="0" lang="fr-FR" sz="1800" b="1" i="0" u="none" strike="noStrike" kern="0" cap="none" spc="0" normalizeH="0" baseline="0" noProof="0" dirty="0">
              <a:ln>
                <a:noFill/>
              </a:ln>
              <a:solidFill>
                <a:srgbClr val="091C62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1" i="0" u="none" strike="noStrike" kern="0" cap="none" spc="0" normalizeH="0" baseline="0" noProof="0" dirty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CO2</a:t>
            </a: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 / </a:t>
            </a:r>
            <a:r>
              <a:rPr kumimoji="0" lang="pl-PL" sz="1100" b="1" i="0" u="none" strike="noStrike" kern="0" cap="none" spc="0" normalizeH="0" baseline="0" noProof="0" dirty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RTK (vs ‘</a:t>
            </a:r>
            <a:r>
              <a:rPr lang="fr-FR" sz="1100" b="1" kern="0" dirty="0">
                <a:solidFill>
                  <a:srgbClr val="091C62"/>
                </a:solidFill>
                <a:latin typeface="Montserrat Light"/>
              </a:rPr>
              <a:t>24</a:t>
            </a:r>
            <a:r>
              <a:rPr kumimoji="0" lang="pl-PL" sz="1100" b="1" i="0" u="none" strike="noStrike" kern="0" cap="none" spc="0" normalizeH="0" baseline="0" noProof="0" dirty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)</a:t>
            </a:r>
            <a:endParaRPr kumimoji="0" lang="fr-FR" sz="1100" b="1" i="0" u="none" strike="noStrike" kern="1200" cap="none" spc="0" normalizeH="0" baseline="0" noProof="0" dirty="0">
              <a:ln>
                <a:noFill/>
              </a:ln>
              <a:solidFill>
                <a:srgbClr val="091C62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35" name="Image 34">
            <a:extLst>
              <a:ext uri="{FF2B5EF4-FFF2-40B4-BE49-F238E27FC236}">
                <a16:creationId xmlns:a16="http://schemas.microsoft.com/office/drawing/2014/main" id="{9A77B705-FB49-6E37-1E9B-2FCC5195227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8877" y="5901912"/>
            <a:ext cx="1180748" cy="506413"/>
          </a:xfrm>
          <a:prstGeom prst="rect">
            <a:avLst/>
          </a:prstGeom>
        </p:spPr>
      </p:pic>
      <p:sp>
        <p:nvSpPr>
          <p:cNvPr id="51" name="ZoneTexte 50">
            <a:extLst>
              <a:ext uri="{FF2B5EF4-FFF2-40B4-BE49-F238E27FC236}">
                <a16:creationId xmlns:a16="http://schemas.microsoft.com/office/drawing/2014/main" id="{92F33036-742D-658B-017F-5BB4ABF30D0B}"/>
              </a:ext>
            </a:extLst>
          </p:cNvPr>
          <p:cNvSpPr txBox="1"/>
          <p:nvPr/>
        </p:nvSpPr>
        <p:spPr>
          <a:xfrm>
            <a:off x="7050342" y="1397878"/>
            <a:ext cx="1472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030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001B64DE-76A7-E33F-6167-7C61DFF832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/>
          <a:srcRect/>
          <a:stretch/>
        </p:blipFill>
        <p:spPr bwMode="auto">
          <a:xfrm>
            <a:off x="658799" y="1721587"/>
            <a:ext cx="6402401" cy="4177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mage 11" descr="Une image contenant Police, Graphique, texte, capture d’écran&#10;&#10;Le contenu généré par l’IA peut être incorrect.">
            <a:extLst>
              <a:ext uri="{FF2B5EF4-FFF2-40B4-BE49-F238E27FC236}">
                <a16:creationId xmlns:a16="http://schemas.microsoft.com/office/drawing/2014/main" id="{864C8540-88CA-BBEC-E9F4-C594D021774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5843" y="2812388"/>
            <a:ext cx="1857770" cy="458209"/>
          </a:xfrm>
          <a:prstGeom prst="rect">
            <a:avLst/>
          </a:prstGeom>
        </p:spPr>
      </p:pic>
      <p:grpSp>
        <p:nvGrpSpPr>
          <p:cNvPr id="2" name="Groupe 1">
            <a:extLst>
              <a:ext uri="{FF2B5EF4-FFF2-40B4-BE49-F238E27FC236}">
                <a16:creationId xmlns:a16="http://schemas.microsoft.com/office/drawing/2014/main" id="{B6E703DC-60EF-A0D7-8CAB-044EF919F642}"/>
              </a:ext>
            </a:extLst>
          </p:cNvPr>
          <p:cNvGrpSpPr/>
          <p:nvPr/>
        </p:nvGrpSpPr>
        <p:grpSpPr>
          <a:xfrm>
            <a:off x="8299916" y="1747310"/>
            <a:ext cx="481715" cy="461963"/>
            <a:chOff x="8275401" y="1815900"/>
            <a:chExt cx="481715" cy="461963"/>
          </a:xfrm>
        </p:grpSpPr>
        <p:sp>
          <p:nvSpPr>
            <p:cNvPr id="3" name="Cercle : creux 2">
              <a:extLst>
                <a:ext uri="{FF2B5EF4-FFF2-40B4-BE49-F238E27FC236}">
                  <a16:creationId xmlns:a16="http://schemas.microsoft.com/office/drawing/2014/main" id="{3B8686E4-CF5F-321D-BC34-C224511A9D6F}"/>
                </a:ext>
              </a:extLst>
            </p:cNvPr>
            <p:cNvSpPr/>
            <p:nvPr/>
          </p:nvSpPr>
          <p:spPr>
            <a:xfrm>
              <a:off x="8275401" y="1815900"/>
              <a:ext cx="461963" cy="461963"/>
            </a:xfrm>
            <a:prstGeom prst="donut">
              <a:avLst>
                <a:gd name="adj" fmla="val 3654"/>
              </a:avLst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pic>
          <p:nvPicPr>
            <p:cNvPr id="4" name="Image 3">
              <a:extLst>
                <a:ext uri="{FF2B5EF4-FFF2-40B4-BE49-F238E27FC236}">
                  <a16:creationId xmlns:a16="http://schemas.microsoft.com/office/drawing/2014/main" id="{6DA81592-73F1-451A-4793-402A83EB8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95152" y="1967084"/>
              <a:ext cx="461964" cy="168619"/>
            </a:xfrm>
            <a:prstGeom prst="rect">
              <a:avLst/>
            </a:prstGeom>
          </p:spPr>
        </p:pic>
      </p:grpSp>
      <p:graphicFrame>
        <p:nvGraphicFramePr>
          <p:cNvPr id="6" name="Tableau 155">
            <a:extLst>
              <a:ext uri="{FF2B5EF4-FFF2-40B4-BE49-F238E27FC236}">
                <a16:creationId xmlns:a16="http://schemas.microsoft.com/office/drawing/2014/main" id="{32E173B1-6E0E-AAC3-C8F6-96D04FF19E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1360955"/>
              </p:ext>
            </p:extLst>
          </p:nvPr>
        </p:nvGraphicFramePr>
        <p:xfrm>
          <a:off x="8871229" y="1736300"/>
          <a:ext cx="2539547" cy="4609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9547">
                  <a:extLst>
                    <a:ext uri="{9D8B030D-6E8A-4147-A177-3AD203B41FA5}">
                      <a16:colId xmlns:a16="http://schemas.microsoft.com/office/drawing/2014/main" val="3295758233"/>
                    </a:ext>
                  </a:extLst>
                </a:gridCol>
              </a:tblGrid>
              <a:tr h="460903">
                <a:tc>
                  <a:txBody>
                    <a:bodyPr/>
                    <a:lstStyle/>
                    <a:p>
                      <a:pPr rtl="0"/>
                      <a:r>
                        <a:rPr lang="en-US" sz="1800" b="1" dirty="0" err="1">
                          <a:solidFill>
                            <a:schemeClr val="accent4"/>
                          </a:solidFill>
                        </a:rPr>
                        <a:t>Intermodality</a:t>
                      </a:r>
                      <a:endParaRPr lang="en-US" sz="18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1689685"/>
                  </a:ext>
                </a:extLst>
              </a:tr>
            </a:tbl>
          </a:graphicData>
        </a:graphic>
      </p:graphicFrame>
      <p:grpSp>
        <p:nvGrpSpPr>
          <p:cNvPr id="15" name="Groupe 14">
            <a:extLst>
              <a:ext uri="{FF2B5EF4-FFF2-40B4-BE49-F238E27FC236}">
                <a16:creationId xmlns:a16="http://schemas.microsoft.com/office/drawing/2014/main" id="{A92AF1C3-B328-574A-8CBA-A8AC438F2C04}"/>
              </a:ext>
            </a:extLst>
          </p:cNvPr>
          <p:cNvGrpSpPr/>
          <p:nvPr/>
        </p:nvGrpSpPr>
        <p:grpSpPr>
          <a:xfrm>
            <a:off x="8259486" y="5434072"/>
            <a:ext cx="3695409" cy="463550"/>
            <a:chOff x="8259486" y="5434072"/>
            <a:chExt cx="3695409" cy="463550"/>
          </a:xfrm>
        </p:grpSpPr>
        <p:grpSp>
          <p:nvGrpSpPr>
            <p:cNvPr id="9" name="Groupe 8">
              <a:extLst>
                <a:ext uri="{FF2B5EF4-FFF2-40B4-BE49-F238E27FC236}">
                  <a16:creationId xmlns:a16="http://schemas.microsoft.com/office/drawing/2014/main" id="{3CA32161-17DB-43B9-EC2A-4CDCA5853CCB}"/>
                </a:ext>
              </a:extLst>
            </p:cNvPr>
            <p:cNvGrpSpPr/>
            <p:nvPr/>
          </p:nvGrpSpPr>
          <p:grpSpPr>
            <a:xfrm>
              <a:off x="8259486" y="5434072"/>
              <a:ext cx="461963" cy="463550"/>
              <a:chOff x="8276988" y="5246986"/>
              <a:chExt cx="461963" cy="463550"/>
            </a:xfrm>
          </p:grpSpPr>
          <p:sp>
            <p:nvSpPr>
              <p:cNvPr id="44" name="Cercle : creux 43">
                <a:extLst>
                  <a:ext uri="{FF2B5EF4-FFF2-40B4-BE49-F238E27FC236}">
                    <a16:creationId xmlns:a16="http://schemas.microsoft.com/office/drawing/2014/main" id="{D926FD41-E4B1-A07B-3269-5BCB475644F5}"/>
                  </a:ext>
                </a:extLst>
              </p:cNvPr>
              <p:cNvSpPr/>
              <p:nvPr/>
            </p:nvSpPr>
            <p:spPr>
              <a:xfrm>
                <a:off x="8276988" y="5246986"/>
                <a:ext cx="461963" cy="463550"/>
              </a:xfrm>
              <a:prstGeom prst="donut">
                <a:avLst>
                  <a:gd name="adj" fmla="val 3654"/>
                </a:avLst>
              </a:prstGeom>
              <a:solidFill>
                <a:srgbClr val="6F8DB9"/>
              </a:solidFill>
              <a:ln>
                <a:solidFill>
                  <a:srgbClr val="27A1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endParaRPr>
              </a:p>
            </p:txBody>
          </p:sp>
          <p:pic>
            <p:nvPicPr>
              <p:cNvPr id="45" name="Graphique 44" descr="Décollage avec un remplissage uni">
                <a:extLst>
                  <a:ext uri="{FF2B5EF4-FFF2-40B4-BE49-F238E27FC236}">
                    <a16:creationId xmlns:a16="http://schemas.microsoft.com/office/drawing/2014/main" id="{13C59DDF-5746-0394-A0A3-13F98FB64E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8340488" y="5312073"/>
                <a:ext cx="333375" cy="333375"/>
              </a:xfrm>
              <a:prstGeom prst="rect">
                <a:avLst/>
              </a:prstGeom>
            </p:spPr>
          </p:pic>
        </p:grpSp>
        <p:sp>
          <p:nvSpPr>
            <p:cNvPr id="14" name="ZoneTexte 13">
              <a:extLst>
                <a:ext uri="{FF2B5EF4-FFF2-40B4-BE49-F238E27FC236}">
                  <a16:creationId xmlns:a16="http://schemas.microsoft.com/office/drawing/2014/main" id="{0D041528-CBE0-B264-1B2F-1D1EA8BBB55D}"/>
                </a:ext>
              </a:extLst>
            </p:cNvPr>
            <p:cNvSpPr txBox="1"/>
            <p:nvPr/>
          </p:nvSpPr>
          <p:spPr>
            <a:xfrm>
              <a:off x="8871229" y="5481180"/>
              <a:ext cx="3083666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800" b="1" dirty="0">
                  <a:solidFill>
                    <a:srgbClr val="27A1D9"/>
                  </a:solidFill>
                </a:rPr>
                <a:t>Operational measur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034614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t 18" hidden="1">
            <a:extLst>
              <a:ext uri="{FF2B5EF4-FFF2-40B4-BE49-F238E27FC236}">
                <a16:creationId xmlns:a16="http://schemas.microsoft.com/office/drawing/2014/main" id="{E9256550-AFB7-6CB0-7B78-692DB113BE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19" name="Objet 18" hidden="1">
                        <a:extLst>
                          <a:ext uri="{FF2B5EF4-FFF2-40B4-BE49-F238E27FC236}">
                            <a16:creationId xmlns:a16="http://schemas.microsoft.com/office/drawing/2014/main" id="{E9256550-AFB7-6CB0-7B78-692DB113BE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464A90C1-1846-4D14-2EF2-CFE4BF63EE2C}"/>
              </a:ext>
            </a:extLst>
          </p:cNvPr>
          <p:cNvSpPr/>
          <p:nvPr/>
        </p:nvSpPr>
        <p:spPr>
          <a:xfrm>
            <a:off x="5243985" y="1717751"/>
            <a:ext cx="3022993" cy="2083519"/>
          </a:xfrm>
          <a:prstGeom prst="rect">
            <a:avLst/>
          </a:prstGeom>
          <a:solidFill>
            <a:srgbClr val="D0DAE2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B2A348B-51BF-A08E-9B76-B25E7D64D0F5}"/>
              </a:ext>
            </a:extLst>
          </p:cNvPr>
          <p:cNvSpPr/>
          <p:nvPr/>
        </p:nvSpPr>
        <p:spPr>
          <a:xfrm>
            <a:off x="2017458" y="1717751"/>
            <a:ext cx="3022993" cy="2083519"/>
          </a:xfrm>
          <a:prstGeom prst="rect">
            <a:avLst/>
          </a:prstGeom>
          <a:solidFill>
            <a:srgbClr val="D0DAE2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8DC0A54-C832-2C98-C2C5-B9AA0A55B054}"/>
              </a:ext>
            </a:extLst>
          </p:cNvPr>
          <p:cNvSpPr/>
          <p:nvPr/>
        </p:nvSpPr>
        <p:spPr>
          <a:xfrm>
            <a:off x="8465439" y="1717751"/>
            <a:ext cx="3022993" cy="2083519"/>
          </a:xfrm>
          <a:prstGeom prst="rect">
            <a:avLst/>
          </a:prstGeom>
          <a:solidFill>
            <a:srgbClr val="D0DAE2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0D8EEE0F-A91B-0905-81B2-213F82BAE3A1}"/>
              </a:ext>
            </a:extLst>
          </p:cNvPr>
          <p:cNvSpPr txBox="1"/>
          <p:nvPr/>
        </p:nvSpPr>
        <p:spPr bwMode="gray">
          <a:xfrm>
            <a:off x="2060521" y="2619652"/>
            <a:ext cx="2914168" cy="242816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220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family firm orders for: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2B8EA565-80B0-B8E8-097E-A47CBE31E815}"/>
              </a:ext>
            </a:extLst>
          </p:cNvPr>
          <p:cNvSpPr txBox="1"/>
          <p:nvPr/>
        </p:nvSpPr>
        <p:spPr bwMode="gray">
          <a:xfrm>
            <a:off x="5298892" y="2619652"/>
            <a:ext cx="2914168" cy="242816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320neo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family firm orders for: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33866BBC-2E5B-91FC-C8D5-4A51B6EC4D27}"/>
              </a:ext>
            </a:extLst>
          </p:cNvPr>
          <p:cNvSpPr txBox="1"/>
          <p:nvPr/>
        </p:nvSpPr>
        <p:spPr bwMode="gray">
          <a:xfrm>
            <a:off x="8527577" y="2619652"/>
            <a:ext cx="2914168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350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amily firm orders for: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26" name="Picture 4" descr="Logo Air France Screen">
            <a:extLst>
              <a:ext uri="{FF2B5EF4-FFF2-40B4-BE49-F238E27FC236}">
                <a16:creationId xmlns:a16="http://schemas.microsoft.com/office/drawing/2014/main" id="{FF3B566D-8825-5E4B-3F5F-B10EC17095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437" t="26798" r="11664" b="30589"/>
          <a:stretch/>
        </p:blipFill>
        <p:spPr bwMode="auto">
          <a:xfrm>
            <a:off x="2854555" y="2953102"/>
            <a:ext cx="1326096" cy="192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6" descr="Logo KLM Screen">
            <a:extLst>
              <a:ext uri="{FF2B5EF4-FFF2-40B4-BE49-F238E27FC236}">
                <a16:creationId xmlns:a16="http://schemas.microsoft.com/office/drawing/2014/main" id="{2E841675-F0ED-81A2-C388-5D596632B1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077" t="16636" r="36031" b="16761"/>
          <a:stretch/>
        </p:blipFill>
        <p:spPr bwMode="auto">
          <a:xfrm>
            <a:off x="7105064" y="2873801"/>
            <a:ext cx="471847" cy="29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6" descr="Logo KLM Screen">
            <a:extLst>
              <a:ext uri="{FF2B5EF4-FFF2-40B4-BE49-F238E27FC236}">
                <a16:creationId xmlns:a16="http://schemas.microsoft.com/office/drawing/2014/main" id="{2F3982C6-E195-CB5C-4F56-4E6CCD0D628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077" t="16636" r="36031" b="16761"/>
          <a:stretch/>
        </p:blipFill>
        <p:spPr bwMode="auto">
          <a:xfrm>
            <a:off x="10495102" y="2873953"/>
            <a:ext cx="471847" cy="29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4" descr="Logo Air France Screen">
            <a:extLst>
              <a:ext uri="{FF2B5EF4-FFF2-40B4-BE49-F238E27FC236}">
                <a16:creationId xmlns:a16="http://schemas.microsoft.com/office/drawing/2014/main" id="{2D264CE5-CAF2-EBEA-16C2-4A658F2345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437" t="26798" r="11664" b="30589"/>
          <a:stretch/>
        </p:blipFill>
        <p:spPr bwMode="auto">
          <a:xfrm>
            <a:off x="8966509" y="2953102"/>
            <a:ext cx="1326096" cy="192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ZoneTexte 59">
            <a:extLst>
              <a:ext uri="{FF2B5EF4-FFF2-40B4-BE49-F238E27FC236}">
                <a16:creationId xmlns:a16="http://schemas.microsoft.com/office/drawing/2014/main" id="{EF535A44-7D58-D3FE-81CA-383768CCD079}"/>
              </a:ext>
            </a:extLst>
          </p:cNvPr>
          <p:cNvSpPr txBox="1"/>
          <p:nvPr/>
        </p:nvSpPr>
        <p:spPr bwMode="gray">
          <a:xfrm>
            <a:off x="504563" y="3421301"/>
            <a:ext cx="1368595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</a:t>
            </a:r>
            <a:r>
              <a:rPr kumimoji="0" lang="en-US" sz="1200" b="0" i="0" u="none" strike="noStrike" kern="1200" cap="none" spc="0" normalizeH="0" baseline="-2500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emissions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</a:t>
            </a:r>
            <a:endParaRPr kumimoji="0" lang="en-US" sz="2000" b="0" i="0" u="none" strike="noStrike" kern="1200" cap="none" spc="0" normalizeH="0" baseline="30000" noProof="0">
              <a:ln>
                <a:noFill/>
              </a:ln>
              <a:solidFill>
                <a:srgbClr val="051039">
                  <a:lumMod val="90000"/>
                  <a:lumOff val="10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9" name="ZoneTexte 58">
            <a:extLst>
              <a:ext uri="{FF2B5EF4-FFF2-40B4-BE49-F238E27FC236}">
                <a16:creationId xmlns:a16="http://schemas.microsoft.com/office/drawing/2014/main" id="{C7C3BAF9-DA06-AD0E-704B-918342854B8C}"/>
              </a:ext>
            </a:extLst>
          </p:cNvPr>
          <p:cNvSpPr txBox="1"/>
          <p:nvPr/>
        </p:nvSpPr>
        <p:spPr bwMode="gray">
          <a:xfrm>
            <a:off x="2758657" y="3338898"/>
            <a:ext cx="1451641" cy="44180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-20%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51039">
                  <a:lumMod val="90000"/>
                  <a:lumOff val="10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5" name="ZoneTexte 54">
            <a:extLst>
              <a:ext uri="{FF2B5EF4-FFF2-40B4-BE49-F238E27FC236}">
                <a16:creationId xmlns:a16="http://schemas.microsoft.com/office/drawing/2014/main" id="{33667DC6-695A-7A3F-CFE0-EC47A0E4CC89}"/>
              </a:ext>
            </a:extLst>
          </p:cNvPr>
          <p:cNvSpPr txBox="1"/>
          <p:nvPr/>
        </p:nvSpPr>
        <p:spPr bwMode="gray">
          <a:xfrm>
            <a:off x="6030155" y="3338898"/>
            <a:ext cx="1451641" cy="44180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-15%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51039">
                  <a:lumMod val="90000"/>
                  <a:lumOff val="10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1" name="ZoneTexte 50">
            <a:extLst>
              <a:ext uri="{FF2B5EF4-FFF2-40B4-BE49-F238E27FC236}">
                <a16:creationId xmlns:a16="http://schemas.microsoft.com/office/drawing/2014/main" id="{A17AE493-F310-AFCE-3861-66D12E094171}"/>
              </a:ext>
            </a:extLst>
          </p:cNvPr>
          <p:cNvSpPr txBox="1"/>
          <p:nvPr/>
        </p:nvSpPr>
        <p:spPr bwMode="gray">
          <a:xfrm>
            <a:off x="9251115" y="3338898"/>
            <a:ext cx="1451641" cy="44180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-25%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51039">
                  <a:lumMod val="90000"/>
                  <a:lumOff val="10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69" name="Image 68" descr="Une image contenant avion, ciel, nuage, transport&#10;&#10;Description générée automatiquement">
            <a:extLst>
              <a:ext uri="{FF2B5EF4-FFF2-40B4-BE49-F238E27FC236}">
                <a16:creationId xmlns:a16="http://schemas.microsoft.com/office/drawing/2014/main" id="{E0712378-ABF8-26DC-F5BB-6ADD7ACFD85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6920" y="1580267"/>
            <a:ext cx="3015482" cy="992325"/>
          </a:xfrm>
          <a:prstGeom prst="rect">
            <a:avLst/>
          </a:prstGeom>
        </p:spPr>
      </p:pic>
      <p:pic>
        <p:nvPicPr>
          <p:cNvPr id="72" name="Picture 2" descr="A220">
            <a:extLst>
              <a:ext uri="{FF2B5EF4-FFF2-40B4-BE49-F238E27FC236}">
                <a16:creationId xmlns:a16="http://schemas.microsoft.com/office/drawing/2014/main" id="{0B14F62A-584E-5C2C-CD7B-CE3ED88D33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08688" y="1580267"/>
            <a:ext cx="3017833" cy="992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5F66BF14-D76D-F454-609B-838DCED7C8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2000" b="1" dirty="0">
                <a:latin typeface="+mn-lt"/>
              </a:rPr>
              <a:t>OUR FLEET RENEWAL STRATEGY DELIVERS STRONG CONTRIBUTION </a:t>
            </a:r>
            <a:br>
              <a:rPr lang="en-US" sz="2000" b="1" dirty="0">
                <a:latin typeface="+mn-lt"/>
              </a:rPr>
            </a:br>
            <a:r>
              <a:rPr lang="en-US" sz="2000" b="1" dirty="0">
                <a:latin typeface="+mn-lt"/>
              </a:rPr>
              <a:t>TO OUR ENVIRONMENTAL ROADMAP</a:t>
            </a:r>
            <a:endParaRPr lang="fr-FR" sz="2000" b="1" dirty="0">
              <a:latin typeface="+mn-lt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CBFA2C1-4173-9C20-5560-6ED2490D2F72}"/>
              </a:ext>
            </a:extLst>
          </p:cNvPr>
          <p:cNvSpPr txBox="1">
            <a:spLocks/>
          </p:cNvSpPr>
          <p:nvPr/>
        </p:nvSpPr>
        <p:spPr>
          <a:xfrm>
            <a:off x="658799" y="6161142"/>
            <a:ext cx="8599715" cy="1108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ctr" anchorCtr="0">
            <a:spAutoFit/>
          </a:bodyPr>
          <a:lstStyle>
            <a:defPPr>
              <a:defRPr lang="en-US"/>
            </a:defPPr>
            <a:lvl1pPr marR="0" lvl="0" indent="0" defTabSz="914377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i="1">
                <a:solidFill>
                  <a:schemeClr val="bg1">
                    <a:lumMod val="50000"/>
                  </a:schemeClr>
                </a:solidFill>
                <a:latin typeface="Montserrat Light" panose="000004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On average, c</a:t>
            </a:r>
            <a:r>
              <a:rPr kumimoji="0" lang="en-US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ompared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to previous generation aircraft</a:t>
            </a:r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 they replace</a:t>
            </a:r>
            <a:endParaRPr kumimoji="0" lang="en-US" sz="8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cxnSp>
        <p:nvCxnSpPr>
          <p:cNvPr id="42" name="Connecteur droit 41">
            <a:extLst>
              <a:ext uri="{FF2B5EF4-FFF2-40B4-BE49-F238E27FC236}">
                <a16:creationId xmlns:a16="http://schemas.microsoft.com/office/drawing/2014/main" id="{D8B70D24-088A-D463-0F0B-4961C9769D94}"/>
              </a:ext>
            </a:extLst>
          </p:cNvPr>
          <p:cNvCxnSpPr>
            <a:cxnSpLocks/>
          </p:cNvCxnSpPr>
          <p:nvPr/>
        </p:nvCxnSpPr>
        <p:spPr>
          <a:xfrm>
            <a:off x="-1" y="5614477"/>
            <a:ext cx="11052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Graphique 43" descr="Avion avec un remplissage uni">
            <a:extLst>
              <a:ext uri="{FF2B5EF4-FFF2-40B4-BE49-F238E27FC236}">
                <a16:creationId xmlns:a16="http://schemas.microsoft.com/office/drawing/2014/main" id="{F5E575A0-F4F9-3149-8B65-AF9B89F8343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5400000">
            <a:off x="10933401" y="5299497"/>
            <a:ext cx="643454" cy="643454"/>
          </a:xfrm>
          <a:prstGeom prst="rect">
            <a:avLst/>
          </a:prstGeom>
        </p:spPr>
      </p:pic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2CBBD479-90A9-FD24-C2E0-9E600BA4D503}"/>
              </a:ext>
            </a:extLst>
          </p:cNvPr>
          <p:cNvSpPr txBox="1">
            <a:spLocks/>
          </p:cNvSpPr>
          <p:nvPr/>
        </p:nvSpPr>
        <p:spPr>
          <a:xfrm>
            <a:off x="1306979" y="5250667"/>
            <a:ext cx="2877486" cy="36000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% of new generation aircraft</a:t>
            </a:r>
            <a:endParaRPr kumimoji="0" lang="en-US" sz="1400" b="0" i="0" u="none" strike="noStrike" kern="1200" cap="none" spc="0" normalizeH="0" baseline="30000" noProof="0" dirty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27B5E7A3-5BD9-4242-E076-63374BA5128D}"/>
              </a:ext>
            </a:extLst>
          </p:cNvPr>
          <p:cNvSpPr/>
          <p:nvPr/>
        </p:nvSpPr>
        <p:spPr>
          <a:xfrm>
            <a:off x="4727202" y="5578477"/>
            <a:ext cx="95832" cy="720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9" name="Espace réservé du texte 2">
            <a:extLst>
              <a:ext uri="{FF2B5EF4-FFF2-40B4-BE49-F238E27FC236}">
                <a16:creationId xmlns:a16="http://schemas.microsoft.com/office/drawing/2014/main" id="{FE038F5E-A1B6-64BA-5B89-369F824158E7}"/>
              </a:ext>
            </a:extLst>
          </p:cNvPr>
          <p:cNvSpPr txBox="1">
            <a:spLocks/>
          </p:cNvSpPr>
          <p:nvPr/>
        </p:nvSpPr>
        <p:spPr>
          <a:xfrm>
            <a:off x="4384086" y="5623188"/>
            <a:ext cx="782064" cy="36000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019</a:t>
            </a:r>
            <a:endParaRPr kumimoji="0" lang="en-US" sz="1600" b="0" i="0" u="none" strike="noStrike" kern="1200" cap="none" spc="0" normalizeH="0" baseline="3000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3" name="Espace réservé du texte 2">
            <a:extLst>
              <a:ext uri="{FF2B5EF4-FFF2-40B4-BE49-F238E27FC236}">
                <a16:creationId xmlns:a16="http://schemas.microsoft.com/office/drawing/2014/main" id="{3894A0F2-F467-16A4-3AB5-968F0137D8A7}"/>
              </a:ext>
            </a:extLst>
          </p:cNvPr>
          <p:cNvSpPr txBox="1">
            <a:spLocks/>
          </p:cNvSpPr>
          <p:nvPr/>
        </p:nvSpPr>
        <p:spPr>
          <a:xfrm>
            <a:off x="4384086" y="5251675"/>
            <a:ext cx="782064" cy="36000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5%</a:t>
            </a:r>
            <a:endParaRPr kumimoji="0" lang="en-US" sz="1600" b="0" i="0" u="none" strike="noStrike" kern="1200" cap="none" spc="0" normalizeH="0" baseline="30000" noProof="0" dirty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4" name="Ellipse 53">
            <a:extLst>
              <a:ext uri="{FF2B5EF4-FFF2-40B4-BE49-F238E27FC236}">
                <a16:creationId xmlns:a16="http://schemas.microsoft.com/office/drawing/2014/main" id="{152D9F87-26B2-0958-F704-650AEF835C0A}"/>
              </a:ext>
            </a:extLst>
          </p:cNvPr>
          <p:cNvSpPr/>
          <p:nvPr/>
        </p:nvSpPr>
        <p:spPr>
          <a:xfrm>
            <a:off x="6840330" y="5578477"/>
            <a:ext cx="95832" cy="720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7" name="Espace réservé du texte 2">
            <a:extLst>
              <a:ext uri="{FF2B5EF4-FFF2-40B4-BE49-F238E27FC236}">
                <a16:creationId xmlns:a16="http://schemas.microsoft.com/office/drawing/2014/main" id="{09326700-6FAD-C7D3-4D6B-9E063BDD7F55}"/>
              </a:ext>
            </a:extLst>
          </p:cNvPr>
          <p:cNvSpPr txBox="1">
            <a:spLocks/>
          </p:cNvSpPr>
          <p:nvPr/>
        </p:nvSpPr>
        <p:spPr>
          <a:xfrm>
            <a:off x="6497214" y="5623188"/>
            <a:ext cx="782064" cy="36000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023</a:t>
            </a:r>
            <a:endParaRPr kumimoji="0" lang="en-US" sz="1600" b="0" i="0" u="none" strike="noStrike" kern="1200" cap="none" spc="0" normalizeH="0" baseline="3000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8" name="Espace réservé du texte 2">
            <a:extLst>
              <a:ext uri="{FF2B5EF4-FFF2-40B4-BE49-F238E27FC236}">
                <a16:creationId xmlns:a16="http://schemas.microsoft.com/office/drawing/2014/main" id="{3AF764B1-59AC-CD3F-A241-6154AD17FE3E}"/>
              </a:ext>
            </a:extLst>
          </p:cNvPr>
          <p:cNvSpPr txBox="1">
            <a:spLocks/>
          </p:cNvSpPr>
          <p:nvPr/>
        </p:nvSpPr>
        <p:spPr>
          <a:xfrm>
            <a:off x="6497214" y="5251675"/>
            <a:ext cx="782064" cy="36000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1%</a:t>
            </a:r>
            <a:endParaRPr kumimoji="0" lang="en-US" sz="1600" b="0" i="0" u="none" strike="noStrike" kern="1200" cap="none" spc="0" normalizeH="0" baseline="3000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88546B4F-15C4-BF69-B0C4-671BC1DCA1F4}"/>
              </a:ext>
            </a:extLst>
          </p:cNvPr>
          <p:cNvGrpSpPr/>
          <p:nvPr/>
        </p:nvGrpSpPr>
        <p:grpSpPr>
          <a:xfrm>
            <a:off x="8463572" y="5149311"/>
            <a:ext cx="782064" cy="838320"/>
            <a:chOff x="8463572" y="5149311"/>
            <a:chExt cx="782064" cy="838320"/>
          </a:xfrm>
        </p:grpSpPr>
        <p:sp>
          <p:nvSpPr>
            <p:cNvPr id="61" name="Ellipse 60">
              <a:extLst>
                <a:ext uri="{FF2B5EF4-FFF2-40B4-BE49-F238E27FC236}">
                  <a16:creationId xmlns:a16="http://schemas.microsoft.com/office/drawing/2014/main" id="{41929D7C-CFA6-BC50-D487-283CE98CBD3A}"/>
                </a:ext>
              </a:extLst>
            </p:cNvPr>
            <p:cNvSpPr/>
            <p:nvPr/>
          </p:nvSpPr>
          <p:spPr>
            <a:xfrm>
              <a:off x="8772357" y="5579858"/>
              <a:ext cx="95832" cy="72000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62" name="Espace réservé du texte 2">
              <a:extLst>
                <a:ext uri="{FF2B5EF4-FFF2-40B4-BE49-F238E27FC236}">
                  <a16:creationId xmlns:a16="http://schemas.microsoft.com/office/drawing/2014/main" id="{88B1B555-FD18-31BB-8911-B5B3C8138DC3}"/>
                </a:ext>
              </a:extLst>
            </p:cNvPr>
            <p:cNvSpPr txBox="1">
              <a:spLocks/>
            </p:cNvSpPr>
            <p:nvPr/>
          </p:nvSpPr>
          <p:spPr>
            <a:xfrm>
              <a:off x="8463572" y="5660951"/>
              <a:ext cx="782064" cy="326680"/>
            </a:xfrm>
            <a:prstGeom prst="rect">
              <a:avLst/>
            </a:prstGeom>
          </p:spPr>
          <p:txBody>
            <a:bodyPr anchor="ctr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800B9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2025</a:t>
              </a:r>
              <a:endPara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63" name="Espace réservé du texte 2">
              <a:extLst>
                <a:ext uri="{FF2B5EF4-FFF2-40B4-BE49-F238E27FC236}">
                  <a16:creationId xmlns:a16="http://schemas.microsoft.com/office/drawing/2014/main" id="{15B488C7-A156-F41E-9613-7F1BBE8E7027}"/>
                </a:ext>
              </a:extLst>
            </p:cNvPr>
            <p:cNvSpPr txBox="1">
              <a:spLocks/>
            </p:cNvSpPr>
            <p:nvPr/>
          </p:nvSpPr>
          <p:spPr>
            <a:xfrm>
              <a:off x="8463572" y="5149311"/>
              <a:ext cx="782064" cy="360000"/>
            </a:xfrm>
            <a:prstGeom prst="rect">
              <a:avLst/>
            </a:prstGeom>
          </p:spPr>
          <p:txBody>
            <a:bodyPr anchor="ctr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800B9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34.6%</a:t>
              </a:r>
              <a:endPara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sp>
        <p:nvSpPr>
          <p:cNvPr id="70" name="Ellipse 69">
            <a:extLst>
              <a:ext uri="{FF2B5EF4-FFF2-40B4-BE49-F238E27FC236}">
                <a16:creationId xmlns:a16="http://schemas.microsoft.com/office/drawing/2014/main" id="{1183C78F-0192-5CFA-78FB-E11A154052D4}"/>
              </a:ext>
            </a:extLst>
          </p:cNvPr>
          <p:cNvSpPr/>
          <p:nvPr/>
        </p:nvSpPr>
        <p:spPr>
          <a:xfrm>
            <a:off x="10539325" y="5576108"/>
            <a:ext cx="95832" cy="720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71" name="Espace réservé du texte 2">
            <a:extLst>
              <a:ext uri="{FF2B5EF4-FFF2-40B4-BE49-F238E27FC236}">
                <a16:creationId xmlns:a16="http://schemas.microsoft.com/office/drawing/2014/main" id="{7DD4A0BE-74E0-E245-9A15-52A3536E5697}"/>
              </a:ext>
            </a:extLst>
          </p:cNvPr>
          <p:cNvSpPr txBox="1">
            <a:spLocks/>
          </p:cNvSpPr>
          <p:nvPr/>
        </p:nvSpPr>
        <p:spPr>
          <a:xfrm>
            <a:off x="10196209" y="5620819"/>
            <a:ext cx="782064" cy="36000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030</a:t>
            </a:r>
            <a:endParaRPr kumimoji="0" lang="en-US" sz="1600" b="0" i="0" u="none" strike="noStrike" kern="1200" cap="none" spc="0" normalizeH="0" baseline="3000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73" name="Espace réservé du texte 2">
            <a:extLst>
              <a:ext uri="{FF2B5EF4-FFF2-40B4-BE49-F238E27FC236}">
                <a16:creationId xmlns:a16="http://schemas.microsoft.com/office/drawing/2014/main" id="{888A8018-BCA9-3D92-DE13-0A6C8C45C0A6}"/>
              </a:ext>
            </a:extLst>
          </p:cNvPr>
          <p:cNvSpPr txBox="1">
            <a:spLocks/>
          </p:cNvSpPr>
          <p:nvPr/>
        </p:nvSpPr>
        <p:spPr>
          <a:xfrm>
            <a:off x="10196209" y="5182631"/>
            <a:ext cx="782064" cy="36000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Up t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80%</a:t>
            </a:r>
            <a:endParaRPr kumimoji="0" lang="en-US" sz="1600" b="0" i="0" u="none" strike="noStrike" kern="1200" cap="none" spc="0" normalizeH="0" baseline="30000" noProof="0" dirty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CA4BA1C-D4CE-5020-E840-FE3B7DA0BEB0}"/>
              </a:ext>
            </a:extLst>
          </p:cNvPr>
          <p:cNvSpPr/>
          <p:nvPr/>
        </p:nvSpPr>
        <p:spPr>
          <a:xfrm>
            <a:off x="2013891" y="3907358"/>
            <a:ext cx="9469340" cy="477772"/>
          </a:xfrm>
          <a:prstGeom prst="rect">
            <a:avLst/>
          </a:prstGeom>
          <a:solidFill>
            <a:srgbClr val="D0DAE2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C4EE8C39-B0E7-51ED-AE7E-92BB41F03669}"/>
              </a:ext>
            </a:extLst>
          </p:cNvPr>
          <p:cNvSpPr txBox="1"/>
          <p:nvPr/>
        </p:nvSpPr>
        <p:spPr bwMode="gray">
          <a:xfrm>
            <a:off x="524032" y="4019571"/>
            <a:ext cx="1368595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OX emissions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</a:t>
            </a:r>
            <a:endParaRPr kumimoji="0" lang="en-US" sz="2000" b="0" i="0" u="none" strike="noStrike" kern="1200" cap="none" spc="0" normalizeH="0" baseline="30000" noProof="0">
              <a:ln>
                <a:noFill/>
              </a:ln>
              <a:solidFill>
                <a:srgbClr val="051039">
                  <a:lumMod val="90000"/>
                  <a:lumOff val="10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82E3398-3944-FB90-24A2-026FFA06D609}"/>
              </a:ext>
            </a:extLst>
          </p:cNvPr>
          <p:cNvSpPr txBox="1"/>
          <p:nvPr/>
        </p:nvSpPr>
        <p:spPr bwMode="gray">
          <a:xfrm>
            <a:off x="4453743" y="3956091"/>
            <a:ext cx="4589637" cy="40395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etween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-30%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nd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-40%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2995E839-1A11-1F58-778A-5D77012367DD}"/>
              </a:ext>
            </a:extLst>
          </p:cNvPr>
          <p:cNvSpPr txBox="1"/>
          <p:nvPr/>
        </p:nvSpPr>
        <p:spPr bwMode="gray">
          <a:xfrm>
            <a:off x="504563" y="4591605"/>
            <a:ext cx="1368595" cy="27699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oise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</a:t>
            </a:r>
            <a:endParaRPr kumimoji="0" lang="en-US" sz="2000" b="0" i="0" u="none" strike="noStrike" kern="1200" cap="none" spc="0" normalizeH="0" baseline="30000" noProof="0">
              <a:ln>
                <a:noFill/>
              </a:ln>
              <a:solidFill>
                <a:srgbClr val="051039">
                  <a:lumMod val="90000"/>
                  <a:lumOff val="10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92485FC-B66C-0A87-3C55-65E51A63DAD6}"/>
              </a:ext>
            </a:extLst>
          </p:cNvPr>
          <p:cNvSpPr/>
          <p:nvPr/>
        </p:nvSpPr>
        <p:spPr>
          <a:xfrm>
            <a:off x="2013891" y="4491218"/>
            <a:ext cx="9469340" cy="477772"/>
          </a:xfrm>
          <a:prstGeom prst="rect">
            <a:avLst/>
          </a:prstGeom>
          <a:solidFill>
            <a:srgbClr val="D0DAE2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76" name="ZoneTexte 75">
            <a:extLst>
              <a:ext uri="{FF2B5EF4-FFF2-40B4-BE49-F238E27FC236}">
                <a16:creationId xmlns:a16="http://schemas.microsoft.com/office/drawing/2014/main" id="{65377607-F3B0-F116-B82D-7DC2BF84CF3A}"/>
              </a:ext>
            </a:extLst>
          </p:cNvPr>
          <p:cNvSpPr txBox="1"/>
          <p:nvPr/>
        </p:nvSpPr>
        <p:spPr bwMode="gray">
          <a:xfrm>
            <a:off x="4453743" y="4528125"/>
            <a:ext cx="4589637" cy="40395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etwee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-</a:t>
            </a:r>
            <a:r>
              <a:rPr lang="en-US" sz="2000" b="1" dirty="0">
                <a:solidFill>
                  <a:srgbClr val="051039">
                    <a:lumMod val="90000"/>
                    <a:lumOff val="10000"/>
                  </a:srgbClr>
                </a:solidFill>
                <a:latin typeface="Montserrat"/>
              </a:rPr>
              <a:t>34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%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n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-</a:t>
            </a:r>
            <a:r>
              <a:rPr lang="en-US" sz="2000" b="1" dirty="0">
                <a:solidFill>
                  <a:srgbClr val="051039">
                    <a:lumMod val="90000"/>
                    <a:lumOff val="10000"/>
                  </a:srgbClr>
                </a:solidFill>
                <a:latin typeface="Montserrat"/>
              </a:rPr>
              <a:t>50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51039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%</a:t>
            </a:r>
          </a:p>
        </p:txBody>
      </p:sp>
      <p:pic>
        <p:nvPicPr>
          <p:cNvPr id="5" name="Image 4" descr="Une image contenant Police, Graphique, graphisme, logo&#10;&#10;Le contenu généré par l’IA peut être incorrect.">
            <a:extLst>
              <a:ext uri="{FF2B5EF4-FFF2-40B4-BE49-F238E27FC236}">
                <a16:creationId xmlns:a16="http://schemas.microsoft.com/office/drawing/2014/main" id="{A6CD790C-D849-B981-C85E-B48395EBDD1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4157" y="2942334"/>
            <a:ext cx="1256111" cy="290476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D4F5BE17-FD29-A71E-2ED3-880DE8BCACB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97" b="23935"/>
          <a:stretch>
            <a:fillRect/>
          </a:stretch>
        </p:blipFill>
        <p:spPr>
          <a:xfrm>
            <a:off x="5224983" y="1590420"/>
            <a:ext cx="3050216" cy="992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9939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BBFD869-C71F-99A5-7DAE-45AC5CD8DA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BFD869-C71F-99A5-7DAE-45AC5CD8DA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0DFE1DE-0D31-819F-1CD9-AF76F4DDE0E9}"/>
              </a:ext>
            </a:extLst>
          </p:cNvPr>
          <p:cNvSpPr/>
          <p:nvPr/>
        </p:nvSpPr>
        <p:spPr>
          <a:xfrm>
            <a:off x="683600" y="1823720"/>
            <a:ext cx="2520000" cy="2956753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BBF3C10-AE8D-7F4E-51F6-A252CB68BF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AE" b="1" dirty="0">
                <a:latin typeface="+mn-lt"/>
              </a:rPr>
              <a:t>Our purpose ALIGNs Business Strategy with Sustainable Customer Expectations for a Better Tomorrow </a:t>
            </a:r>
            <a:endParaRPr lang="fr-FR" b="1" dirty="0">
              <a:latin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51457DA-D187-76B5-05A9-FFCCC3694B87}"/>
              </a:ext>
            </a:extLst>
          </p:cNvPr>
          <p:cNvSpPr/>
          <p:nvPr/>
        </p:nvSpPr>
        <p:spPr>
          <a:xfrm>
            <a:off x="658800" y="5072641"/>
            <a:ext cx="11249916" cy="83099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0800B9">
                    <a:lumMod val="75000"/>
                  </a:srgbClr>
                </a:solidFill>
                <a:effectLst/>
                <a:uLnTx/>
                <a:uFillTx/>
                <a:latin typeface="Montserrat"/>
                <a:ea typeface="+mn-ea"/>
                <a:cs typeface="Arial" panose="020B0604020202020204" pitchFamily="34" charset="0"/>
              </a:rPr>
              <a:t>“At the forefront of a more responsible European aviation, </a:t>
            </a:r>
            <a:b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0800B9">
                    <a:lumMod val="75000"/>
                  </a:srgbClr>
                </a:solidFill>
                <a:effectLst/>
                <a:uLnTx/>
                <a:uFillTx/>
                <a:latin typeface="Montserrat"/>
                <a:ea typeface="+mn-ea"/>
                <a:cs typeface="Arial" panose="020B0604020202020204" pitchFamily="34" charset="0"/>
              </a:rPr>
            </a:b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0800B9">
                    <a:lumMod val="75000"/>
                  </a:srgbClr>
                </a:solidFill>
                <a:effectLst/>
                <a:uLnTx/>
                <a:uFillTx/>
                <a:latin typeface="Montserrat"/>
                <a:ea typeface="+mn-ea"/>
                <a:cs typeface="Arial" panose="020B0604020202020204" pitchFamily="34" charset="0"/>
              </a:rPr>
              <a:t>we unite people for the world of tomorrow”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2A564F1-3C42-8786-0E00-F69E441259EB}"/>
              </a:ext>
            </a:extLst>
          </p:cNvPr>
          <p:cNvSpPr/>
          <p:nvPr/>
        </p:nvSpPr>
        <p:spPr>
          <a:xfrm>
            <a:off x="3519398" y="1823720"/>
            <a:ext cx="2520000" cy="2956753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944D17E-F13E-AF6B-372A-812B4048A61A}"/>
              </a:ext>
            </a:extLst>
          </p:cNvPr>
          <p:cNvSpPr/>
          <p:nvPr/>
        </p:nvSpPr>
        <p:spPr>
          <a:xfrm>
            <a:off x="6355196" y="1823720"/>
            <a:ext cx="2520000" cy="2956753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39F77EE-1FE7-5145-2A92-E39FEDDFEB5C}"/>
              </a:ext>
            </a:extLst>
          </p:cNvPr>
          <p:cNvSpPr/>
          <p:nvPr/>
        </p:nvSpPr>
        <p:spPr>
          <a:xfrm>
            <a:off x="9190993" y="1823720"/>
            <a:ext cx="2520000" cy="2956753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13" name="Picture 2" descr="SkyTeam Departures_Arrivals_customers">
            <a:extLst>
              <a:ext uri="{FF2B5EF4-FFF2-40B4-BE49-F238E27FC236}">
                <a16:creationId xmlns:a16="http://schemas.microsoft.com/office/drawing/2014/main" id="{F056C90F-3B48-7453-BB70-02BA7080B2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600" y="3169189"/>
            <a:ext cx="2520000" cy="167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Lady working">
            <a:extLst>
              <a:ext uri="{FF2B5EF4-FFF2-40B4-BE49-F238E27FC236}">
                <a16:creationId xmlns:a16="http://schemas.microsoft.com/office/drawing/2014/main" id="{0B98237D-CA37-5461-2CF6-6CBE4F1D02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19398" y="3172339"/>
            <a:ext cx="2520000" cy="167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Follow Me">
            <a:extLst>
              <a:ext uri="{FF2B5EF4-FFF2-40B4-BE49-F238E27FC236}">
                <a16:creationId xmlns:a16="http://schemas.microsoft.com/office/drawing/2014/main" id="{B7734A7B-0F67-9FC0-12A3-773E5BC51A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55196" y="3155409"/>
            <a:ext cx="2520000" cy="168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8" descr="Business woman staring at airport ">
            <a:extLst>
              <a:ext uri="{FF2B5EF4-FFF2-40B4-BE49-F238E27FC236}">
                <a16:creationId xmlns:a16="http://schemas.microsoft.com/office/drawing/2014/main" id="{D1F462BA-1F8C-BE11-FEFA-403CE46F10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90993" y="3169189"/>
            <a:ext cx="2520000" cy="168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phique 8">
            <a:extLst>
              <a:ext uri="{FF2B5EF4-FFF2-40B4-BE49-F238E27FC236}">
                <a16:creationId xmlns:a16="http://schemas.microsoft.com/office/drawing/2014/main" id="{04A0044B-463D-6681-A218-040084A751C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631328" y="2170578"/>
            <a:ext cx="624544" cy="624544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2811E5E8-E19A-DA63-7A78-08CEA00003A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255991" y="2268163"/>
            <a:ext cx="702612" cy="429374"/>
          </a:xfrm>
          <a:prstGeom prst="rect">
            <a:avLst/>
          </a:prstGeom>
        </p:spPr>
      </p:pic>
      <p:pic>
        <p:nvPicPr>
          <p:cNvPr id="22" name="Graphique 21">
            <a:extLst>
              <a:ext uri="{FF2B5EF4-FFF2-40B4-BE49-F238E27FC236}">
                <a16:creationId xmlns:a16="http://schemas.microsoft.com/office/drawing/2014/main" id="{03EA49B9-6876-BA1A-DACC-11A1EF28F35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234476" y="2105521"/>
            <a:ext cx="409858" cy="754658"/>
          </a:xfrm>
          <a:prstGeom prst="rect">
            <a:avLst/>
          </a:prstGeom>
        </p:spPr>
      </p:pic>
      <p:pic>
        <p:nvPicPr>
          <p:cNvPr id="12" name="Image 11" descr="Une image contenant Graphique, cercle, art, conception&#10;&#10;Le contenu généré par l’IA peut être incorrect.">
            <a:extLst>
              <a:ext uri="{FF2B5EF4-FFF2-40B4-BE49-F238E27FC236}">
                <a16:creationId xmlns:a16="http://schemas.microsoft.com/office/drawing/2014/main" id="{C42D3A9B-B73E-89BE-DC27-58552DEF450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7406" y="2170578"/>
            <a:ext cx="623984" cy="624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3094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C681E6C-5832-7615-E7A1-0DA5E255CC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6" progId="TCLayout.ActiveDocument.1">
                  <p:embed/>
                </p:oleObj>
              </mc:Choice>
              <mc:Fallback>
                <p:oleObj name="Diapositive think-cell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681E6C-5832-7615-E7A1-0DA5E255CC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re 5">
            <a:extLst>
              <a:ext uri="{FF2B5EF4-FFF2-40B4-BE49-F238E27FC236}">
                <a16:creationId xmlns:a16="http://schemas.microsoft.com/office/drawing/2014/main" id="{F463F456-CE20-9DA6-0B12-D17A54343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 sz="2000" b="1" dirty="0">
                <a:latin typeface="+mn-lt"/>
              </a:rPr>
              <a:t>AIR FRANCE-KLM IS fully committed </a:t>
            </a:r>
            <a:r>
              <a:rPr lang="en-US" sz="2000" b="1" dirty="0">
                <a:latin typeface="+mn-lt"/>
              </a:rPr>
              <a:t>TO SAF, with the ambition of incorporating 10% of SAF by 2030</a:t>
            </a:r>
          </a:p>
        </p:txBody>
      </p:sp>
      <p:pic>
        <p:nvPicPr>
          <p:cNvPr id="18" name="Picture 4">
            <a:extLst>
              <a:ext uri="{FF2B5EF4-FFF2-40B4-BE49-F238E27FC236}">
                <a16:creationId xmlns:a16="http://schemas.microsoft.com/office/drawing/2014/main" id="{3CDE600B-C7C6-C781-5AC0-ADCB2F356D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8800" y="1693268"/>
            <a:ext cx="3331144" cy="4402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CB06DB43-0FD4-3746-46C5-4C130A1BA23F}"/>
              </a:ext>
            </a:extLst>
          </p:cNvPr>
          <p:cNvSpPr/>
          <p:nvPr/>
        </p:nvSpPr>
        <p:spPr>
          <a:xfrm>
            <a:off x="658800" y="1693268"/>
            <a:ext cx="3331143" cy="4402734"/>
          </a:xfrm>
          <a:prstGeom prst="rect">
            <a:avLst/>
          </a:prstGeom>
          <a:solidFill>
            <a:schemeClr val="bg1">
              <a:lumMod val="75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graphicFrame>
        <p:nvGraphicFramePr>
          <p:cNvPr id="7" name="Graphique 6">
            <a:extLst>
              <a:ext uri="{FF2B5EF4-FFF2-40B4-BE49-F238E27FC236}">
                <a16:creationId xmlns:a16="http://schemas.microsoft.com/office/drawing/2014/main" id="{9171B865-5B21-077F-0A2E-5B9EFF36C7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3621570"/>
              </p:ext>
            </p:extLst>
          </p:nvPr>
        </p:nvGraphicFramePr>
        <p:xfrm>
          <a:off x="4421321" y="1797436"/>
          <a:ext cx="7276692" cy="42837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5465947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Connecteur droit avec flèche 36">
            <a:extLst>
              <a:ext uri="{FF2B5EF4-FFF2-40B4-BE49-F238E27FC236}">
                <a16:creationId xmlns:a16="http://schemas.microsoft.com/office/drawing/2014/main" id="{6B800F04-B2FF-8ABE-9CAF-CD76277DF281}"/>
              </a:ext>
            </a:extLst>
          </p:cNvPr>
          <p:cNvCxnSpPr>
            <a:cxnSpLocks/>
          </p:cNvCxnSpPr>
          <p:nvPr/>
        </p:nvCxnSpPr>
        <p:spPr>
          <a:xfrm>
            <a:off x="401987" y="4013095"/>
            <a:ext cx="8532000" cy="0"/>
          </a:xfrm>
          <a:prstGeom prst="straightConnector1">
            <a:avLst/>
          </a:prstGeom>
          <a:noFill/>
          <a:ln w="127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40">
            <a:extLst>
              <a:ext uri="{FF2B5EF4-FFF2-40B4-BE49-F238E27FC236}">
                <a16:creationId xmlns:a16="http://schemas.microsoft.com/office/drawing/2014/main" id="{822809AD-4BB3-7048-69F2-4F598993EEAA}"/>
              </a:ext>
            </a:extLst>
          </p:cNvPr>
          <p:cNvCxnSpPr>
            <a:cxnSpLocks/>
          </p:cNvCxnSpPr>
          <p:nvPr/>
        </p:nvCxnSpPr>
        <p:spPr>
          <a:xfrm>
            <a:off x="679718" y="4451233"/>
            <a:ext cx="0" cy="1800000"/>
          </a:xfrm>
          <a:prstGeom prst="line">
            <a:avLst/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28" name="Connecteur droit 5127">
            <a:extLst>
              <a:ext uri="{FF2B5EF4-FFF2-40B4-BE49-F238E27FC236}">
                <a16:creationId xmlns:a16="http://schemas.microsoft.com/office/drawing/2014/main" id="{B1A17389-8812-69A2-BDE3-5B8ACE9DB6BB}"/>
              </a:ext>
            </a:extLst>
          </p:cNvPr>
          <p:cNvCxnSpPr>
            <a:cxnSpLocks/>
          </p:cNvCxnSpPr>
          <p:nvPr/>
        </p:nvCxnSpPr>
        <p:spPr>
          <a:xfrm>
            <a:off x="2956522" y="4451233"/>
            <a:ext cx="0" cy="1800000"/>
          </a:xfrm>
          <a:prstGeom prst="line">
            <a:avLst/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F05C99B4-FE76-7CBB-96CC-781D80BB1ACE}"/>
              </a:ext>
            </a:extLst>
          </p:cNvPr>
          <p:cNvCxnSpPr>
            <a:cxnSpLocks/>
          </p:cNvCxnSpPr>
          <p:nvPr/>
        </p:nvCxnSpPr>
        <p:spPr>
          <a:xfrm>
            <a:off x="5255570" y="4451233"/>
            <a:ext cx="0" cy="1800000"/>
          </a:xfrm>
          <a:prstGeom prst="line">
            <a:avLst/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FDD2021A-BFB2-D02C-B796-A4B41AB5521F}"/>
              </a:ext>
            </a:extLst>
          </p:cNvPr>
          <p:cNvCxnSpPr>
            <a:cxnSpLocks/>
          </p:cNvCxnSpPr>
          <p:nvPr/>
        </p:nvCxnSpPr>
        <p:spPr>
          <a:xfrm>
            <a:off x="7557713" y="4451233"/>
            <a:ext cx="0" cy="1800000"/>
          </a:xfrm>
          <a:prstGeom prst="line">
            <a:avLst/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3558D449-5E48-7ED6-D7C8-606F808D42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58D449-5E48-7ED6-D7C8-606F808D42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re 38">
            <a:extLst>
              <a:ext uri="{FF2B5EF4-FFF2-40B4-BE49-F238E27FC236}">
                <a16:creationId xmlns:a16="http://schemas.microsoft.com/office/drawing/2014/main" id="{4EE0DF1A-AEA8-6B2D-8A06-CDB66E7848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000" b="1" dirty="0">
                <a:latin typeface="+mn-lt"/>
              </a:rPr>
              <a:t>Air France-KLM sourcing initiatives to reach 2030 SAF target </a:t>
            </a:r>
            <a:r>
              <a:rPr lang="en-US" sz="2000" b="1" dirty="0">
                <a:latin typeface="+mn-lt"/>
              </a:rPr>
              <a:t>keeping flexibility in volumes to match our demand</a:t>
            </a:r>
            <a:endParaRPr lang="fr-FR" sz="2000" b="1" dirty="0">
              <a:latin typeface="+mn-lt"/>
            </a:endParaRPr>
          </a:p>
        </p:txBody>
      </p:sp>
      <p:sp>
        <p:nvSpPr>
          <p:cNvPr id="11" name="Espace réservé du texte 14">
            <a:extLst>
              <a:ext uri="{FF2B5EF4-FFF2-40B4-BE49-F238E27FC236}">
                <a16:creationId xmlns:a16="http://schemas.microsoft.com/office/drawing/2014/main" id="{4C457319-20F9-941B-E985-870FE3D280F1}"/>
              </a:ext>
            </a:extLst>
          </p:cNvPr>
          <p:cNvSpPr txBox="1">
            <a:spLocks/>
          </p:cNvSpPr>
          <p:nvPr/>
        </p:nvSpPr>
        <p:spPr>
          <a:xfrm>
            <a:off x="929492" y="1600280"/>
            <a:ext cx="7574227" cy="288218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>
            <a:lvl1pPr marL="0" indent="0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kumimoji="0" lang="en-GB" sz="1800" b="1" i="0" u="none" strike="noStrike" kern="1200" cap="none" spc="0" normalizeH="0" baseline="0" dirty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  <a:lvl2pPr marL="180975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5962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ir France KLM possible offtakes – Key SAF Projects start-up dat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0AD395-08C4-69BC-B36F-FF4CF81AC16C}"/>
              </a:ext>
            </a:extLst>
          </p:cNvPr>
          <p:cNvSpPr/>
          <p:nvPr/>
        </p:nvSpPr>
        <p:spPr>
          <a:xfrm>
            <a:off x="9353866" y="2090738"/>
            <a:ext cx="2838133" cy="3788612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graphicFrame>
        <p:nvGraphicFramePr>
          <p:cNvPr id="38" name="Tableau 39">
            <a:extLst>
              <a:ext uri="{FF2B5EF4-FFF2-40B4-BE49-F238E27FC236}">
                <a16:creationId xmlns:a16="http://schemas.microsoft.com/office/drawing/2014/main" id="{0999E732-7769-B50D-7BE1-50F588B0694A}"/>
              </a:ext>
            </a:extLst>
          </p:cNvPr>
          <p:cNvGraphicFramePr>
            <a:graphicFrameLocks noGrp="1"/>
          </p:cNvGraphicFramePr>
          <p:nvPr/>
        </p:nvGraphicFramePr>
        <p:xfrm>
          <a:off x="114029" y="4107180"/>
          <a:ext cx="9157728" cy="4207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4716">
                  <a:extLst>
                    <a:ext uri="{9D8B030D-6E8A-4147-A177-3AD203B41FA5}">
                      <a16:colId xmlns:a16="http://schemas.microsoft.com/office/drawing/2014/main" val="2963553975"/>
                    </a:ext>
                  </a:extLst>
                </a:gridCol>
                <a:gridCol w="1144716">
                  <a:extLst>
                    <a:ext uri="{9D8B030D-6E8A-4147-A177-3AD203B41FA5}">
                      <a16:colId xmlns:a16="http://schemas.microsoft.com/office/drawing/2014/main" val="3930595368"/>
                    </a:ext>
                  </a:extLst>
                </a:gridCol>
                <a:gridCol w="1144716">
                  <a:extLst>
                    <a:ext uri="{9D8B030D-6E8A-4147-A177-3AD203B41FA5}">
                      <a16:colId xmlns:a16="http://schemas.microsoft.com/office/drawing/2014/main" val="2690800202"/>
                    </a:ext>
                  </a:extLst>
                </a:gridCol>
                <a:gridCol w="1144716">
                  <a:extLst>
                    <a:ext uri="{9D8B030D-6E8A-4147-A177-3AD203B41FA5}">
                      <a16:colId xmlns:a16="http://schemas.microsoft.com/office/drawing/2014/main" val="2346650841"/>
                    </a:ext>
                  </a:extLst>
                </a:gridCol>
                <a:gridCol w="1144716">
                  <a:extLst>
                    <a:ext uri="{9D8B030D-6E8A-4147-A177-3AD203B41FA5}">
                      <a16:colId xmlns:a16="http://schemas.microsoft.com/office/drawing/2014/main" val="3042586038"/>
                    </a:ext>
                  </a:extLst>
                </a:gridCol>
                <a:gridCol w="1144716">
                  <a:extLst>
                    <a:ext uri="{9D8B030D-6E8A-4147-A177-3AD203B41FA5}">
                      <a16:colId xmlns:a16="http://schemas.microsoft.com/office/drawing/2014/main" val="873840504"/>
                    </a:ext>
                  </a:extLst>
                </a:gridCol>
                <a:gridCol w="1144716">
                  <a:extLst>
                    <a:ext uri="{9D8B030D-6E8A-4147-A177-3AD203B41FA5}">
                      <a16:colId xmlns:a16="http://schemas.microsoft.com/office/drawing/2014/main" val="2971184858"/>
                    </a:ext>
                  </a:extLst>
                </a:gridCol>
                <a:gridCol w="1144716">
                  <a:extLst>
                    <a:ext uri="{9D8B030D-6E8A-4147-A177-3AD203B41FA5}">
                      <a16:colId xmlns:a16="http://schemas.microsoft.com/office/drawing/2014/main" val="3719660178"/>
                    </a:ext>
                  </a:extLst>
                </a:gridCol>
              </a:tblGrid>
              <a:tr h="420789"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tx1"/>
                          </a:solidFill>
                        </a:rPr>
                        <a:t>2023</a:t>
                      </a:r>
                    </a:p>
                  </a:txBody>
                  <a:tcPr marL="104029" marR="104029" marT="52014" marB="520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tx1"/>
                          </a:solidFill>
                        </a:rPr>
                        <a:t>2024</a:t>
                      </a:r>
                    </a:p>
                  </a:txBody>
                  <a:tcPr marL="104029" marR="104029" marT="52014" marB="520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tx1"/>
                          </a:solidFill>
                        </a:rPr>
                        <a:t>2025</a:t>
                      </a:r>
                    </a:p>
                  </a:txBody>
                  <a:tcPr marL="104029" marR="104029" marT="52014" marB="520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tx1"/>
                          </a:solidFill>
                        </a:rPr>
                        <a:t>2026</a:t>
                      </a:r>
                    </a:p>
                  </a:txBody>
                  <a:tcPr marL="104029" marR="104029" marT="52014" marB="520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tx1"/>
                          </a:solidFill>
                        </a:rPr>
                        <a:t>2027</a:t>
                      </a:r>
                    </a:p>
                  </a:txBody>
                  <a:tcPr marL="104029" marR="104029" marT="52014" marB="520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tx1"/>
                          </a:solidFill>
                        </a:rPr>
                        <a:t>2028</a:t>
                      </a:r>
                    </a:p>
                  </a:txBody>
                  <a:tcPr marL="104029" marR="104029" marT="52014" marB="520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tx1"/>
                          </a:solidFill>
                        </a:rPr>
                        <a:t>2029</a:t>
                      </a:r>
                    </a:p>
                  </a:txBody>
                  <a:tcPr marL="104029" marR="104029" marT="52014" marB="520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tx1"/>
                          </a:solidFill>
                        </a:rPr>
                        <a:t>2030</a:t>
                      </a:r>
                    </a:p>
                  </a:txBody>
                  <a:tcPr marL="104029" marR="104029" marT="52014" marB="520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8359117"/>
                  </a:ext>
                </a:extLst>
              </a:tr>
            </a:tbl>
          </a:graphicData>
        </a:graphic>
      </p:graphicFrame>
      <p:sp>
        <p:nvSpPr>
          <p:cNvPr id="44" name="Espace réservé du texte 14">
            <a:extLst>
              <a:ext uri="{FF2B5EF4-FFF2-40B4-BE49-F238E27FC236}">
                <a16:creationId xmlns:a16="http://schemas.microsoft.com/office/drawing/2014/main" id="{F439B2D1-C960-7FE9-53B0-138451C4ABA1}"/>
              </a:ext>
            </a:extLst>
          </p:cNvPr>
          <p:cNvSpPr txBox="1">
            <a:spLocks/>
          </p:cNvSpPr>
          <p:nvPr/>
        </p:nvSpPr>
        <p:spPr>
          <a:xfrm>
            <a:off x="9353866" y="2172308"/>
            <a:ext cx="2838133" cy="503663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>
            <a:lvl1pPr marL="0" indent="0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kumimoji="0" lang="en-GB" sz="1800" b="1" i="0" u="none" strike="noStrike" kern="1200" cap="none" spc="0" normalizeH="0" baseline="0" dirty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  <a:lvl2pPr marL="180975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5962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ir France – KLM 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ourcing strategy</a:t>
            </a:r>
          </a:p>
        </p:txBody>
      </p:sp>
      <p:sp>
        <p:nvSpPr>
          <p:cNvPr id="48" name="ZoneTexte 47">
            <a:extLst>
              <a:ext uri="{FF2B5EF4-FFF2-40B4-BE49-F238E27FC236}">
                <a16:creationId xmlns:a16="http://schemas.microsoft.com/office/drawing/2014/main" id="{5E22DD25-6CC8-9AEB-20C0-97C3EEC7DA56}"/>
              </a:ext>
            </a:extLst>
          </p:cNvPr>
          <p:cNvSpPr txBox="1"/>
          <p:nvPr/>
        </p:nvSpPr>
        <p:spPr>
          <a:xfrm>
            <a:off x="9623394" y="2992344"/>
            <a:ext cx="2367438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D0DAE2"/>
              </a:buClr>
              <a:buSzTx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ur strategy relies on materializing the contracts based on best: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 Light"/>
                <a:ea typeface="Times New Roman" panose="02020603050405020304" pitchFamily="18" charset="0"/>
                <a:cs typeface="+mn-cs"/>
              </a:rPr>
              <a:t>            </a:t>
            </a:r>
          </a:p>
        </p:txBody>
      </p:sp>
      <p:grpSp>
        <p:nvGrpSpPr>
          <p:cNvPr id="26" name="Graphique 52" descr="Évaluation contour">
            <a:extLst>
              <a:ext uri="{FF2B5EF4-FFF2-40B4-BE49-F238E27FC236}">
                <a16:creationId xmlns:a16="http://schemas.microsoft.com/office/drawing/2014/main" id="{61E17BB9-BD56-F359-4CEB-9421D1BE383B}"/>
              </a:ext>
            </a:extLst>
          </p:cNvPr>
          <p:cNvGrpSpPr/>
          <p:nvPr/>
        </p:nvGrpSpPr>
        <p:grpSpPr>
          <a:xfrm>
            <a:off x="9852854" y="5133971"/>
            <a:ext cx="338762" cy="308924"/>
            <a:chOff x="12635919" y="5161337"/>
            <a:chExt cx="265535" cy="242147"/>
          </a:xfr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</p:grpSpPr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CC59907F-4342-16F0-CDAB-8FADE258826B}"/>
                </a:ext>
              </a:extLst>
            </p:cNvPr>
            <p:cNvSpPr/>
            <p:nvPr/>
          </p:nvSpPr>
          <p:spPr>
            <a:xfrm>
              <a:off x="12708133" y="5188648"/>
              <a:ext cx="121056" cy="121017"/>
            </a:xfrm>
            <a:custGeom>
              <a:avLst/>
              <a:gdLst>
                <a:gd name="connsiteX0" fmla="*/ 68258 w 121056"/>
                <a:gd name="connsiteY0" fmla="*/ 47870 h 121017"/>
                <a:gd name="connsiteX1" fmla="*/ 70039 w 121056"/>
                <a:gd name="connsiteY1" fmla="*/ 53208 h 121017"/>
                <a:gd name="connsiteX2" fmla="*/ 100165 w 121056"/>
                <a:gd name="connsiteY2" fmla="*/ 53208 h 121017"/>
                <a:gd name="connsiteX3" fmla="*/ 81125 w 121056"/>
                <a:gd name="connsiteY3" fmla="*/ 69757 h 121017"/>
                <a:gd name="connsiteX4" fmla="*/ 77317 w 121056"/>
                <a:gd name="connsiteY4" fmla="*/ 73069 h 121017"/>
                <a:gd name="connsiteX5" fmla="*/ 78770 w 121056"/>
                <a:gd name="connsiteY5" fmla="*/ 77899 h 121017"/>
                <a:gd name="connsiteX6" fmla="*/ 85982 w 121056"/>
                <a:gd name="connsiteY6" fmla="*/ 101918 h 121017"/>
                <a:gd name="connsiteX7" fmla="*/ 64950 w 121056"/>
                <a:gd name="connsiteY7" fmla="*/ 87365 h 121017"/>
                <a:gd name="connsiteX8" fmla="*/ 60507 w 121056"/>
                <a:gd name="connsiteY8" fmla="*/ 84288 h 121017"/>
                <a:gd name="connsiteX9" fmla="*/ 56059 w 121056"/>
                <a:gd name="connsiteY9" fmla="*/ 87369 h 121017"/>
                <a:gd name="connsiteX10" fmla="*/ 35070 w 121056"/>
                <a:gd name="connsiteY10" fmla="*/ 101911 h 121017"/>
                <a:gd name="connsiteX11" fmla="*/ 42286 w 121056"/>
                <a:gd name="connsiteY11" fmla="*/ 77880 h 121017"/>
                <a:gd name="connsiteX12" fmla="*/ 43735 w 121056"/>
                <a:gd name="connsiteY12" fmla="*/ 73049 h 121017"/>
                <a:gd name="connsiteX13" fmla="*/ 39928 w 121056"/>
                <a:gd name="connsiteY13" fmla="*/ 69738 h 121017"/>
                <a:gd name="connsiteX14" fmla="*/ 20887 w 121056"/>
                <a:gd name="connsiteY14" fmla="*/ 53189 h 121017"/>
                <a:gd name="connsiteX15" fmla="*/ 51065 w 121056"/>
                <a:gd name="connsiteY15" fmla="*/ 53189 h 121017"/>
                <a:gd name="connsiteX16" fmla="*/ 52841 w 121056"/>
                <a:gd name="connsiteY16" fmla="*/ 47843 h 121017"/>
                <a:gd name="connsiteX17" fmla="*/ 60522 w 121056"/>
                <a:gd name="connsiteY17" fmla="*/ 24726 h 121017"/>
                <a:gd name="connsiteX18" fmla="*/ 45430 w 121056"/>
                <a:gd name="connsiteY18" fmla="*/ 45360 h 121017"/>
                <a:gd name="connsiteX19" fmla="*/ 0 w 121056"/>
                <a:gd name="connsiteY19" fmla="*/ 45360 h 121017"/>
                <a:gd name="connsiteX20" fmla="*/ 34805 w 121056"/>
                <a:gd name="connsiteY20" fmla="*/ 75615 h 121017"/>
                <a:gd name="connsiteX21" fmla="*/ 21172 w 121056"/>
                <a:gd name="connsiteY21" fmla="*/ 121017 h 121017"/>
                <a:gd name="connsiteX22" fmla="*/ 60507 w 121056"/>
                <a:gd name="connsiteY22" fmla="*/ 93769 h 121017"/>
                <a:gd name="connsiteX23" fmla="*/ 99884 w 121056"/>
                <a:gd name="connsiteY23" fmla="*/ 121017 h 121017"/>
                <a:gd name="connsiteX24" fmla="*/ 86252 w 121056"/>
                <a:gd name="connsiteY24" fmla="*/ 75654 h 121017"/>
                <a:gd name="connsiteX25" fmla="*/ 121056 w 121056"/>
                <a:gd name="connsiteY25" fmla="*/ 45399 h 121017"/>
                <a:gd name="connsiteX26" fmla="*/ 75666 w 121056"/>
                <a:gd name="connsiteY26" fmla="*/ 45399 h 121017"/>
                <a:gd name="connsiteX27" fmla="*/ 60507 w 121056"/>
                <a:gd name="connsiteY27" fmla="*/ 0 h 12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21056" h="121017">
                  <a:moveTo>
                    <a:pt x="68258" y="47870"/>
                  </a:moveTo>
                  <a:lnTo>
                    <a:pt x="70039" y="53208"/>
                  </a:lnTo>
                  <a:lnTo>
                    <a:pt x="100165" y="53208"/>
                  </a:lnTo>
                  <a:lnTo>
                    <a:pt x="81125" y="69757"/>
                  </a:lnTo>
                  <a:lnTo>
                    <a:pt x="77317" y="73069"/>
                  </a:lnTo>
                  <a:lnTo>
                    <a:pt x="78770" y="77899"/>
                  </a:lnTo>
                  <a:lnTo>
                    <a:pt x="85982" y="101918"/>
                  </a:lnTo>
                  <a:lnTo>
                    <a:pt x="64950" y="87365"/>
                  </a:lnTo>
                  <a:lnTo>
                    <a:pt x="60507" y="84288"/>
                  </a:lnTo>
                  <a:lnTo>
                    <a:pt x="56059" y="87369"/>
                  </a:lnTo>
                  <a:lnTo>
                    <a:pt x="35070" y="101911"/>
                  </a:lnTo>
                  <a:lnTo>
                    <a:pt x="42286" y="77880"/>
                  </a:lnTo>
                  <a:lnTo>
                    <a:pt x="43735" y="73049"/>
                  </a:lnTo>
                  <a:lnTo>
                    <a:pt x="39928" y="69738"/>
                  </a:lnTo>
                  <a:lnTo>
                    <a:pt x="20887" y="53189"/>
                  </a:lnTo>
                  <a:lnTo>
                    <a:pt x="51065" y="53189"/>
                  </a:lnTo>
                  <a:lnTo>
                    <a:pt x="52841" y="47843"/>
                  </a:lnTo>
                  <a:lnTo>
                    <a:pt x="60522" y="24726"/>
                  </a:lnTo>
                  <a:close/>
                  <a:moveTo>
                    <a:pt x="45430" y="45360"/>
                  </a:moveTo>
                  <a:lnTo>
                    <a:pt x="0" y="45360"/>
                  </a:lnTo>
                  <a:lnTo>
                    <a:pt x="34805" y="75615"/>
                  </a:lnTo>
                  <a:lnTo>
                    <a:pt x="21172" y="121017"/>
                  </a:lnTo>
                  <a:lnTo>
                    <a:pt x="60507" y="93769"/>
                  </a:lnTo>
                  <a:lnTo>
                    <a:pt x="99884" y="121017"/>
                  </a:lnTo>
                  <a:lnTo>
                    <a:pt x="86252" y="75654"/>
                  </a:lnTo>
                  <a:lnTo>
                    <a:pt x="121056" y="45399"/>
                  </a:lnTo>
                  <a:lnTo>
                    <a:pt x="75666" y="45399"/>
                  </a:lnTo>
                  <a:lnTo>
                    <a:pt x="60507" y="0"/>
                  </a:lnTo>
                  <a:close/>
                </a:path>
              </a:pathLst>
            </a:custGeom>
            <a:grpFill/>
            <a:ln w="387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F3A1B4CF-D37E-8254-E425-92B9EDC17440}"/>
                </a:ext>
              </a:extLst>
            </p:cNvPr>
            <p:cNvSpPr/>
            <p:nvPr/>
          </p:nvSpPr>
          <p:spPr>
            <a:xfrm>
              <a:off x="12635919" y="5161337"/>
              <a:ext cx="265535" cy="242147"/>
            </a:xfrm>
            <a:custGeom>
              <a:avLst/>
              <a:gdLst>
                <a:gd name="connsiteX0" fmla="*/ 252258 w 265535"/>
                <a:gd name="connsiteY0" fmla="*/ 7806 h 242147"/>
                <a:gd name="connsiteX1" fmla="*/ 257725 w 265535"/>
                <a:gd name="connsiteY1" fmla="*/ 13663 h 242147"/>
                <a:gd name="connsiteX2" fmla="*/ 257725 w 265535"/>
                <a:gd name="connsiteY2" fmla="*/ 174983 h 242147"/>
                <a:gd name="connsiteX3" fmla="*/ 252258 w 265535"/>
                <a:gd name="connsiteY3" fmla="*/ 180450 h 242147"/>
                <a:gd name="connsiteX4" fmla="*/ 204618 w 265535"/>
                <a:gd name="connsiteY4" fmla="*/ 180450 h 242147"/>
                <a:gd name="connsiteX5" fmla="*/ 204618 w 265535"/>
                <a:gd name="connsiteY5" fmla="*/ 223014 h 242147"/>
                <a:gd name="connsiteX6" fmla="*/ 164913 w 265535"/>
                <a:gd name="connsiteY6" fmla="*/ 182414 h 242147"/>
                <a:gd name="connsiteX7" fmla="*/ 162617 w 265535"/>
                <a:gd name="connsiteY7" fmla="*/ 180071 h 242147"/>
                <a:gd name="connsiteX8" fmla="*/ 13277 w 265535"/>
                <a:gd name="connsiteY8" fmla="*/ 180071 h 242147"/>
                <a:gd name="connsiteX9" fmla="*/ 7810 w 265535"/>
                <a:gd name="connsiteY9" fmla="*/ 174841 h 242147"/>
                <a:gd name="connsiteX10" fmla="*/ 7810 w 265535"/>
                <a:gd name="connsiteY10" fmla="*/ 174604 h 242147"/>
                <a:gd name="connsiteX11" fmla="*/ 7810 w 265535"/>
                <a:gd name="connsiteY11" fmla="*/ 13277 h 242147"/>
                <a:gd name="connsiteX12" fmla="*/ 13277 w 265535"/>
                <a:gd name="connsiteY12" fmla="*/ 7810 h 242147"/>
                <a:gd name="connsiteX13" fmla="*/ 252258 w 265535"/>
                <a:gd name="connsiteY13" fmla="*/ 7810 h 242147"/>
                <a:gd name="connsiteX14" fmla="*/ 252258 w 265535"/>
                <a:gd name="connsiteY14" fmla="*/ 0 h 242147"/>
                <a:gd name="connsiteX15" fmla="*/ 13277 w 265535"/>
                <a:gd name="connsiteY15" fmla="*/ 0 h 242147"/>
                <a:gd name="connsiteX16" fmla="*/ 0 w 265535"/>
                <a:gd name="connsiteY16" fmla="*/ 13277 h 242147"/>
                <a:gd name="connsiteX17" fmla="*/ 0 w 265535"/>
                <a:gd name="connsiteY17" fmla="*/ 174593 h 242147"/>
                <a:gd name="connsiteX18" fmla="*/ 13058 w 265535"/>
                <a:gd name="connsiteY18" fmla="*/ 187869 h 242147"/>
                <a:gd name="connsiteX19" fmla="*/ 13277 w 265535"/>
                <a:gd name="connsiteY19" fmla="*/ 187869 h 242147"/>
                <a:gd name="connsiteX20" fmla="*/ 159321 w 265535"/>
                <a:gd name="connsiteY20" fmla="*/ 187869 h 242147"/>
                <a:gd name="connsiteX21" fmla="*/ 212428 w 265535"/>
                <a:gd name="connsiteY21" fmla="*/ 242148 h 242147"/>
                <a:gd name="connsiteX22" fmla="*/ 212428 w 265535"/>
                <a:gd name="connsiteY22" fmla="*/ 188260 h 242147"/>
                <a:gd name="connsiteX23" fmla="*/ 252258 w 265535"/>
                <a:gd name="connsiteY23" fmla="*/ 188260 h 242147"/>
                <a:gd name="connsiteX24" fmla="*/ 265535 w 265535"/>
                <a:gd name="connsiteY24" fmla="*/ 174983 h 242147"/>
                <a:gd name="connsiteX25" fmla="*/ 265535 w 265535"/>
                <a:gd name="connsiteY25" fmla="*/ 13667 h 242147"/>
                <a:gd name="connsiteX26" fmla="*/ 252258 w 265535"/>
                <a:gd name="connsiteY26" fmla="*/ 0 h 242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65535" h="242147">
                  <a:moveTo>
                    <a:pt x="252258" y="7806"/>
                  </a:moveTo>
                  <a:cubicBezTo>
                    <a:pt x="255381" y="7923"/>
                    <a:pt x="257824" y="10540"/>
                    <a:pt x="257725" y="13663"/>
                  </a:cubicBezTo>
                  <a:lnTo>
                    <a:pt x="257725" y="174983"/>
                  </a:lnTo>
                  <a:cubicBezTo>
                    <a:pt x="257647" y="177970"/>
                    <a:pt x="255245" y="180372"/>
                    <a:pt x="252258" y="180450"/>
                  </a:cubicBezTo>
                  <a:lnTo>
                    <a:pt x="204618" y="180450"/>
                  </a:lnTo>
                  <a:lnTo>
                    <a:pt x="204618" y="223014"/>
                  </a:lnTo>
                  <a:lnTo>
                    <a:pt x="164913" y="182414"/>
                  </a:lnTo>
                  <a:lnTo>
                    <a:pt x="162617" y="180071"/>
                  </a:lnTo>
                  <a:lnTo>
                    <a:pt x="13277" y="180071"/>
                  </a:lnTo>
                  <a:cubicBezTo>
                    <a:pt x="10324" y="180137"/>
                    <a:pt x="7876" y="177795"/>
                    <a:pt x="7810" y="174841"/>
                  </a:cubicBezTo>
                  <a:cubicBezTo>
                    <a:pt x="7809" y="174762"/>
                    <a:pt x="7809" y="174683"/>
                    <a:pt x="7810" y="174604"/>
                  </a:cubicBezTo>
                  <a:lnTo>
                    <a:pt x="7810" y="13277"/>
                  </a:lnTo>
                  <a:cubicBezTo>
                    <a:pt x="7888" y="10290"/>
                    <a:pt x="10291" y="7888"/>
                    <a:pt x="13277" y="7810"/>
                  </a:cubicBezTo>
                  <a:lnTo>
                    <a:pt x="252258" y="7810"/>
                  </a:lnTo>
                  <a:moveTo>
                    <a:pt x="252258" y="0"/>
                  </a:moveTo>
                  <a:lnTo>
                    <a:pt x="13277" y="0"/>
                  </a:lnTo>
                  <a:cubicBezTo>
                    <a:pt x="5977" y="76"/>
                    <a:pt x="77" y="5976"/>
                    <a:pt x="0" y="13277"/>
                  </a:cubicBezTo>
                  <a:lnTo>
                    <a:pt x="0" y="174593"/>
                  </a:lnTo>
                  <a:cubicBezTo>
                    <a:pt x="-60" y="181864"/>
                    <a:pt x="5786" y="187809"/>
                    <a:pt x="13058" y="187869"/>
                  </a:cubicBezTo>
                  <a:cubicBezTo>
                    <a:pt x="13131" y="187870"/>
                    <a:pt x="13204" y="187870"/>
                    <a:pt x="13277" y="187869"/>
                  </a:cubicBezTo>
                  <a:lnTo>
                    <a:pt x="159321" y="187869"/>
                  </a:lnTo>
                  <a:lnTo>
                    <a:pt x="212428" y="242148"/>
                  </a:lnTo>
                  <a:lnTo>
                    <a:pt x="212428" y="188260"/>
                  </a:lnTo>
                  <a:lnTo>
                    <a:pt x="252258" y="188260"/>
                  </a:lnTo>
                  <a:cubicBezTo>
                    <a:pt x="259559" y="188184"/>
                    <a:pt x="265459" y="182284"/>
                    <a:pt x="265535" y="174983"/>
                  </a:cubicBezTo>
                  <a:lnTo>
                    <a:pt x="265535" y="13667"/>
                  </a:lnTo>
                  <a:cubicBezTo>
                    <a:pt x="265626" y="6233"/>
                    <a:pt x="259691" y="124"/>
                    <a:pt x="252258" y="0"/>
                  </a:cubicBezTo>
                  <a:close/>
                </a:path>
              </a:pathLst>
            </a:custGeom>
            <a:grpFill/>
            <a:ln w="387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sp>
        <p:nvSpPr>
          <p:cNvPr id="54" name="ZoneTexte 53">
            <a:extLst>
              <a:ext uri="{FF2B5EF4-FFF2-40B4-BE49-F238E27FC236}">
                <a16:creationId xmlns:a16="http://schemas.microsoft.com/office/drawing/2014/main" id="{0D5EE757-9E03-C474-79D3-5745A6BFE5E3}"/>
              </a:ext>
            </a:extLst>
          </p:cNvPr>
          <p:cNvSpPr txBox="1"/>
          <p:nvPr/>
        </p:nvSpPr>
        <p:spPr>
          <a:xfrm>
            <a:off x="10362941" y="3966892"/>
            <a:ext cx="159275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 panose="00000500000000000000" pitchFamily="2" charset="0"/>
                <a:ea typeface="Times New Roman" panose="02020603050405020304" pitchFamily="18" charset="0"/>
                <a:cs typeface="+mn-cs"/>
              </a:rPr>
              <a:t>Price               </a:t>
            </a:r>
          </a:p>
        </p:txBody>
      </p:sp>
      <p:sp>
        <p:nvSpPr>
          <p:cNvPr id="55" name="ZoneTexte 54">
            <a:extLst>
              <a:ext uri="{FF2B5EF4-FFF2-40B4-BE49-F238E27FC236}">
                <a16:creationId xmlns:a16="http://schemas.microsoft.com/office/drawing/2014/main" id="{1259C416-A9CB-CE92-525A-EE654DA1678E}"/>
              </a:ext>
            </a:extLst>
          </p:cNvPr>
          <p:cNvSpPr txBox="1"/>
          <p:nvPr/>
        </p:nvSpPr>
        <p:spPr>
          <a:xfrm>
            <a:off x="10362941" y="4541631"/>
            <a:ext cx="159275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 panose="00000500000000000000" pitchFamily="2" charset="0"/>
                <a:ea typeface="Times New Roman" panose="02020603050405020304" pitchFamily="18" charset="0"/>
                <a:cs typeface="+mn-cs"/>
              </a:rPr>
              <a:t>Availability               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59A47182-EAE7-9316-C78D-23A949DE544A}"/>
              </a:ext>
            </a:extLst>
          </p:cNvPr>
          <p:cNvSpPr txBox="1"/>
          <p:nvPr/>
        </p:nvSpPr>
        <p:spPr>
          <a:xfrm>
            <a:off x="10362941" y="5116369"/>
            <a:ext cx="159275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 panose="00000500000000000000" pitchFamily="2" charset="0"/>
                <a:ea typeface="Times New Roman" panose="02020603050405020304" pitchFamily="18" charset="0"/>
                <a:cs typeface="+mn-cs"/>
              </a:rPr>
              <a:t>Quality               </a:t>
            </a:r>
          </a:p>
        </p:txBody>
      </p: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949A2CDC-7497-096C-3A26-3714E3C669D8}"/>
              </a:ext>
            </a:extLst>
          </p:cNvPr>
          <p:cNvCxnSpPr>
            <a:cxnSpLocks/>
          </p:cNvCxnSpPr>
          <p:nvPr/>
        </p:nvCxnSpPr>
        <p:spPr>
          <a:xfrm>
            <a:off x="6410417" y="2206209"/>
            <a:ext cx="0" cy="1800000"/>
          </a:xfrm>
          <a:prstGeom prst="line">
            <a:avLst/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ZoneTexte 8">
            <a:extLst>
              <a:ext uri="{FF2B5EF4-FFF2-40B4-BE49-F238E27FC236}">
                <a16:creationId xmlns:a16="http://schemas.microsoft.com/office/drawing/2014/main" id="{00D08737-0B2F-8695-8C19-180A44B7CD6F}"/>
              </a:ext>
            </a:extLst>
          </p:cNvPr>
          <p:cNvSpPr txBox="1"/>
          <p:nvPr/>
        </p:nvSpPr>
        <p:spPr>
          <a:xfrm>
            <a:off x="5269339" y="5707221"/>
            <a:ext cx="1747983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</a:t>
            </a:r>
            <a:r>
              <a:rPr kumimoji="0" lang="en-US" sz="1200" b="1" i="0" u="none" strike="noStrike" kern="1200" cap="none" spc="0" normalizeH="0" baseline="3000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Plant star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0.6 Mtons Advanced biofuel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0 years offtake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31258CA-ADC0-9925-F9F4-77D98335886A}"/>
              </a:ext>
            </a:extLst>
          </p:cNvPr>
          <p:cNvSpPr txBox="1"/>
          <p:nvPr/>
        </p:nvSpPr>
        <p:spPr>
          <a:xfrm>
            <a:off x="5269339" y="4954260"/>
            <a:ext cx="2018536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SL01 star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0.75 Mtons Biofuel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0 years offtake</a:t>
            </a:r>
          </a:p>
        </p:txBody>
      </p:sp>
      <p:cxnSp>
        <p:nvCxnSpPr>
          <p:cNvPr id="5134" name="Connecteur droit 5133">
            <a:extLst>
              <a:ext uri="{FF2B5EF4-FFF2-40B4-BE49-F238E27FC236}">
                <a16:creationId xmlns:a16="http://schemas.microsoft.com/office/drawing/2014/main" id="{7B82C84E-858D-3467-61AA-1AD57CFF6330}"/>
              </a:ext>
            </a:extLst>
          </p:cNvPr>
          <p:cNvCxnSpPr>
            <a:cxnSpLocks/>
          </p:cNvCxnSpPr>
          <p:nvPr/>
        </p:nvCxnSpPr>
        <p:spPr>
          <a:xfrm>
            <a:off x="4114891" y="2206209"/>
            <a:ext cx="0" cy="1800000"/>
          </a:xfrm>
          <a:prstGeom prst="line">
            <a:avLst/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29" name="ZoneTexte 5128">
            <a:extLst>
              <a:ext uri="{FF2B5EF4-FFF2-40B4-BE49-F238E27FC236}">
                <a16:creationId xmlns:a16="http://schemas.microsoft.com/office/drawing/2014/main" id="{5A071010-F21E-48C8-6A2A-880A29221BE6}"/>
              </a:ext>
            </a:extLst>
          </p:cNvPr>
          <p:cNvSpPr txBox="1"/>
          <p:nvPr/>
        </p:nvSpPr>
        <p:spPr>
          <a:xfrm>
            <a:off x="2971085" y="5429550"/>
            <a:ext cx="2011193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nergy Player in E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0.45 Mt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dvanced biofue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,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oU up to 2030</a:t>
            </a:r>
          </a:p>
        </p:txBody>
      </p:sp>
      <p:cxnSp>
        <p:nvCxnSpPr>
          <p:cNvPr id="49" name="Connecteur droit 48">
            <a:extLst>
              <a:ext uri="{FF2B5EF4-FFF2-40B4-BE49-F238E27FC236}">
                <a16:creationId xmlns:a16="http://schemas.microsoft.com/office/drawing/2014/main" id="{F91344E6-0442-AAC1-924E-9EE7639805FB}"/>
              </a:ext>
            </a:extLst>
          </p:cNvPr>
          <p:cNvCxnSpPr>
            <a:cxnSpLocks/>
          </p:cNvCxnSpPr>
          <p:nvPr/>
        </p:nvCxnSpPr>
        <p:spPr>
          <a:xfrm>
            <a:off x="1823065" y="2206209"/>
            <a:ext cx="0" cy="1800000"/>
          </a:xfrm>
          <a:prstGeom prst="line">
            <a:avLst/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>
            <a:extLst>
              <a:ext uri="{FF2B5EF4-FFF2-40B4-BE49-F238E27FC236}">
                <a16:creationId xmlns:a16="http://schemas.microsoft.com/office/drawing/2014/main" id="{1E98B4AC-E548-8DCC-65D7-C05E63FB2945}"/>
              </a:ext>
            </a:extLst>
          </p:cNvPr>
          <p:cNvCxnSpPr>
            <a:cxnSpLocks/>
          </p:cNvCxnSpPr>
          <p:nvPr/>
        </p:nvCxnSpPr>
        <p:spPr>
          <a:xfrm>
            <a:off x="401987" y="4475375"/>
            <a:ext cx="8532000" cy="0"/>
          </a:xfrm>
          <a:prstGeom prst="straightConnector1">
            <a:avLst/>
          </a:prstGeom>
          <a:noFill/>
          <a:ln w="127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llipse 21">
            <a:extLst>
              <a:ext uri="{FF2B5EF4-FFF2-40B4-BE49-F238E27FC236}">
                <a16:creationId xmlns:a16="http://schemas.microsoft.com/office/drawing/2014/main" id="{BA9E9FED-A34B-BA4D-8DE4-56BA4B9EAA26}"/>
              </a:ext>
            </a:extLst>
          </p:cNvPr>
          <p:cNvSpPr/>
          <p:nvPr/>
        </p:nvSpPr>
        <p:spPr>
          <a:xfrm>
            <a:off x="642971" y="4439739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BA3D1323-660D-640A-899B-FBF9CD38DB1A}"/>
              </a:ext>
            </a:extLst>
          </p:cNvPr>
          <p:cNvSpPr/>
          <p:nvPr/>
        </p:nvSpPr>
        <p:spPr>
          <a:xfrm>
            <a:off x="1789845" y="3972379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27E1655D-1682-0C06-EAB0-2C095224BC4F}"/>
              </a:ext>
            </a:extLst>
          </p:cNvPr>
          <p:cNvSpPr/>
          <p:nvPr/>
        </p:nvSpPr>
        <p:spPr>
          <a:xfrm>
            <a:off x="2936719" y="4439739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165FA012-1E6B-EDA0-88B0-7169FE0ABCCB}"/>
              </a:ext>
            </a:extLst>
          </p:cNvPr>
          <p:cNvSpPr/>
          <p:nvPr/>
        </p:nvSpPr>
        <p:spPr>
          <a:xfrm>
            <a:off x="4083593" y="3972379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D4F924C7-0B4F-EC8F-2617-9F21AA0ED480}"/>
              </a:ext>
            </a:extLst>
          </p:cNvPr>
          <p:cNvSpPr/>
          <p:nvPr/>
        </p:nvSpPr>
        <p:spPr>
          <a:xfrm>
            <a:off x="5230467" y="4439739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3A5877CC-C5BA-A41C-FEAE-E536C5F5AE0D}"/>
              </a:ext>
            </a:extLst>
          </p:cNvPr>
          <p:cNvSpPr/>
          <p:nvPr/>
        </p:nvSpPr>
        <p:spPr>
          <a:xfrm>
            <a:off x="6377340" y="3972379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62725729-578F-5736-6A0E-4FFA6178DDBB}"/>
              </a:ext>
            </a:extLst>
          </p:cNvPr>
          <p:cNvSpPr/>
          <p:nvPr/>
        </p:nvSpPr>
        <p:spPr>
          <a:xfrm>
            <a:off x="7524214" y="4439739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6FCD61C6-98C7-502E-8612-E3B6081982FE}"/>
              </a:ext>
            </a:extLst>
          </p:cNvPr>
          <p:cNvSpPr txBox="1"/>
          <p:nvPr/>
        </p:nvSpPr>
        <p:spPr>
          <a:xfrm>
            <a:off x="689200" y="4954260"/>
            <a:ext cx="1549314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 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ton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Biofuel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, 8 years offtake agreement</a:t>
            </a:r>
          </a:p>
        </p:txBody>
      </p:sp>
      <p:pic>
        <p:nvPicPr>
          <p:cNvPr id="47" name="Picture 2" descr="Home">
            <a:extLst>
              <a:ext uri="{FF2B5EF4-FFF2-40B4-BE49-F238E27FC236}">
                <a16:creationId xmlns:a16="http://schemas.microsoft.com/office/drawing/2014/main" id="{707E3A41-3881-D725-FFE5-A233BC0E6E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6656" y="4642297"/>
            <a:ext cx="1153356" cy="206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ZoneTexte 49">
            <a:extLst>
              <a:ext uri="{FF2B5EF4-FFF2-40B4-BE49-F238E27FC236}">
                <a16:creationId xmlns:a16="http://schemas.microsoft.com/office/drawing/2014/main" id="{E75881F3-C09B-A1CD-97ED-03A21A4F443C}"/>
              </a:ext>
            </a:extLst>
          </p:cNvPr>
          <p:cNvSpPr txBox="1"/>
          <p:nvPr/>
        </p:nvSpPr>
        <p:spPr>
          <a:xfrm>
            <a:off x="1850713" y="2646449"/>
            <a:ext cx="15493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0.3 Mton Biofuel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oU up to 2030</a:t>
            </a:r>
          </a:p>
        </p:txBody>
      </p:sp>
      <p:sp>
        <p:nvSpPr>
          <p:cNvPr id="5123" name="ZoneTexte 5122">
            <a:extLst>
              <a:ext uri="{FF2B5EF4-FFF2-40B4-BE49-F238E27FC236}">
                <a16:creationId xmlns:a16="http://schemas.microsoft.com/office/drawing/2014/main" id="{65644DBC-03A3-B465-8BDF-0F8B0C3D9677}"/>
              </a:ext>
            </a:extLst>
          </p:cNvPr>
          <p:cNvSpPr txBox="1"/>
          <p:nvPr/>
        </p:nvSpPr>
        <p:spPr>
          <a:xfrm>
            <a:off x="1850712" y="3181038"/>
            <a:ext cx="184117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AF player in US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0.3 Mton Biofuel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oU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up to 2030</a:t>
            </a:r>
          </a:p>
        </p:txBody>
      </p:sp>
      <p:sp>
        <p:nvSpPr>
          <p:cNvPr id="5131" name="ZoneTexte 5130">
            <a:extLst>
              <a:ext uri="{FF2B5EF4-FFF2-40B4-BE49-F238E27FC236}">
                <a16:creationId xmlns:a16="http://schemas.microsoft.com/office/drawing/2014/main" id="{AF7BD0E7-BC1D-845A-91EB-9B95087B41A7}"/>
              </a:ext>
            </a:extLst>
          </p:cNvPr>
          <p:cNvSpPr txBox="1"/>
          <p:nvPr/>
        </p:nvSpPr>
        <p:spPr>
          <a:xfrm>
            <a:off x="2971085" y="4655380"/>
            <a:ext cx="2011193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il Major in E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0.65 Mton Biofuel, </a:t>
            </a:r>
            <a:b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oU up to 2030</a:t>
            </a:r>
          </a:p>
        </p:txBody>
      </p:sp>
      <p:sp>
        <p:nvSpPr>
          <p:cNvPr id="5136" name="ZoneTexte 5135">
            <a:extLst>
              <a:ext uri="{FF2B5EF4-FFF2-40B4-BE49-F238E27FC236}">
                <a16:creationId xmlns:a16="http://schemas.microsoft.com/office/drawing/2014/main" id="{838A4D6F-6D15-B735-1533-136281053255}"/>
              </a:ext>
            </a:extLst>
          </p:cNvPr>
          <p:cNvSpPr txBox="1"/>
          <p:nvPr/>
        </p:nvSpPr>
        <p:spPr>
          <a:xfrm>
            <a:off x="4104440" y="2625160"/>
            <a:ext cx="19058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Grandpuits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star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>
                <a:solidFill>
                  <a:srgbClr val="051039"/>
                </a:solidFill>
                <a:latin typeface="Montserrat"/>
              </a:rPr>
              <a:t>1.5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Mton Biofuel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oU for 10 years offtake</a:t>
            </a:r>
          </a:p>
        </p:txBody>
      </p:sp>
      <p:sp>
        <p:nvSpPr>
          <p:cNvPr id="5138" name="ZoneTexte 5137">
            <a:extLst>
              <a:ext uri="{FF2B5EF4-FFF2-40B4-BE49-F238E27FC236}">
                <a16:creationId xmlns:a16="http://schemas.microsoft.com/office/drawing/2014/main" id="{9C67241E-C2A0-FFFC-DA62-B040D3D06F61}"/>
              </a:ext>
            </a:extLst>
          </p:cNvPr>
          <p:cNvSpPr txBox="1"/>
          <p:nvPr/>
        </p:nvSpPr>
        <p:spPr>
          <a:xfrm>
            <a:off x="4123335" y="3146780"/>
            <a:ext cx="21955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nergy player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n Americ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0.580 Mton Advanced biofuel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oU for 10 years offtakes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1E131B6-8126-3748-FFDA-BE6BF8A82CD7}"/>
              </a:ext>
            </a:extLst>
          </p:cNvPr>
          <p:cNvSpPr txBox="1"/>
          <p:nvPr/>
        </p:nvSpPr>
        <p:spPr>
          <a:xfrm>
            <a:off x="6426793" y="3039765"/>
            <a:ext cx="17479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“Take </a:t>
            </a:r>
            <a:r>
              <a:rPr kumimoji="0" lang="en-US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Kair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” e-fuel project </a:t>
            </a:r>
            <a:b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n Franc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E54E4D96-7DEF-E43C-A52A-444D2DF2B376}"/>
              </a:ext>
            </a:extLst>
          </p:cNvPr>
          <p:cNvSpPr txBox="1"/>
          <p:nvPr/>
        </p:nvSpPr>
        <p:spPr>
          <a:xfrm>
            <a:off x="7525709" y="4954260"/>
            <a:ext cx="15903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800" b="1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“</a:t>
            </a:r>
            <a:r>
              <a:rPr kumimoji="0" lang="nl-NL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KerEAUzen</a:t>
            </a:r>
            <a:r>
              <a:rPr kumimoji="0" lang="nl-NL" sz="800" b="1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” e-</a:t>
            </a:r>
            <a:r>
              <a:rPr kumimoji="0" lang="nl-NL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uel</a:t>
            </a:r>
            <a:r>
              <a:rPr kumimoji="0" lang="nl-NL" sz="800" b="1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project </a:t>
            </a:r>
            <a:r>
              <a:rPr kumimoji="0" lang="nl-NL" sz="800" b="0" i="0" u="none" strike="noStrike" kern="1200" cap="none" spc="0" normalizeH="0" baseline="0" noProof="0" dirty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n France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grpSp>
        <p:nvGrpSpPr>
          <p:cNvPr id="4" name="Graphique 15">
            <a:extLst>
              <a:ext uri="{FF2B5EF4-FFF2-40B4-BE49-F238E27FC236}">
                <a16:creationId xmlns:a16="http://schemas.microsoft.com/office/drawing/2014/main" id="{F3F9B1C3-DCB7-B724-70CE-48CB51DF7B99}"/>
              </a:ext>
            </a:extLst>
          </p:cNvPr>
          <p:cNvGrpSpPr/>
          <p:nvPr/>
        </p:nvGrpSpPr>
        <p:grpSpPr>
          <a:xfrm>
            <a:off x="9813040" y="4525254"/>
            <a:ext cx="385186" cy="265521"/>
            <a:chOff x="814364" y="3056951"/>
            <a:chExt cx="650727" cy="448567"/>
          </a:xfr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12882CF4-81EE-6711-0ADD-EA6D1D7F38BC}"/>
                </a:ext>
              </a:extLst>
            </p:cNvPr>
            <p:cNvSpPr/>
            <p:nvPr/>
          </p:nvSpPr>
          <p:spPr>
            <a:xfrm>
              <a:off x="814364" y="3056951"/>
              <a:ext cx="650727" cy="355447"/>
            </a:xfrm>
            <a:custGeom>
              <a:avLst/>
              <a:gdLst>
                <a:gd name="connsiteX0" fmla="*/ 15 w 650727"/>
                <a:gd name="connsiteY0" fmla="*/ 199525 h 355447"/>
                <a:gd name="connsiteX1" fmla="*/ 65788 w 650727"/>
                <a:gd name="connsiteY1" fmla="*/ 326521 h 355447"/>
                <a:gd name="connsiteX2" fmla="*/ 32732 w 650727"/>
                <a:gd name="connsiteY2" fmla="*/ 326521 h 355447"/>
                <a:gd name="connsiteX3" fmla="*/ 18269 w 650727"/>
                <a:gd name="connsiteY3" fmla="*/ 340985 h 355447"/>
                <a:gd name="connsiteX4" fmla="*/ 32732 w 650727"/>
                <a:gd name="connsiteY4" fmla="*/ 355448 h 355447"/>
                <a:gd name="connsiteX5" fmla="*/ 618011 w 650727"/>
                <a:gd name="connsiteY5" fmla="*/ 355448 h 355447"/>
                <a:gd name="connsiteX6" fmla="*/ 632474 w 650727"/>
                <a:gd name="connsiteY6" fmla="*/ 340985 h 355447"/>
                <a:gd name="connsiteX7" fmla="*/ 618011 w 650727"/>
                <a:gd name="connsiteY7" fmla="*/ 326521 h 355447"/>
                <a:gd name="connsiteX8" fmla="*/ 584954 w 650727"/>
                <a:gd name="connsiteY8" fmla="*/ 326521 h 355447"/>
                <a:gd name="connsiteX9" fmla="*/ 650728 w 650727"/>
                <a:gd name="connsiteY9" fmla="*/ 199525 h 355447"/>
                <a:gd name="connsiteX10" fmla="*/ 495886 w 650727"/>
                <a:gd name="connsiteY10" fmla="*/ 43662 h 355447"/>
                <a:gd name="connsiteX11" fmla="*/ 495886 w 650727"/>
                <a:gd name="connsiteY11" fmla="*/ 14463 h 355447"/>
                <a:gd name="connsiteX12" fmla="*/ 481423 w 650727"/>
                <a:gd name="connsiteY12" fmla="*/ 0 h 355447"/>
                <a:gd name="connsiteX13" fmla="*/ 369098 w 650727"/>
                <a:gd name="connsiteY13" fmla="*/ 2 h 355447"/>
                <a:gd name="connsiteX14" fmla="*/ 354634 w 650727"/>
                <a:gd name="connsiteY14" fmla="*/ 14466 h 355447"/>
                <a:gd name="connsiteX15" fmla="*/ 354634 w 650727"/>
                <a:gd name="connsiteY15" fmla="*/ 43605 h 355447"/>
                <a:gd name="connsiteX16" fmla="*/ 284317 w 650727"/>
                <a:gd name="connsiteY16" fmla="*/ 43605 h 355447"/>
                <a:gd name="connsiteX17" fmla="*/ 284317 w 650727"/>
                <a:gd name="connsiteY17" fmla="*/ 14473 h 355447"/>
                <a:gd name="connsiteX18" fmla="*/ 269854 w 650727"/>
                <a:gd name="connsiteY18" fmla="*/ 10 h 355447"/>
                <a:gd name="connsiteX19" fmla="*/ 157510 w 650727"/>
                <a:gd name="connsiteY19" fmla="*/ 10 h 355447"/>
                <a:gd name="connsiteX20" fmla="*/ 143047 w 650727"/>
                <a:gd name="connsiteY20" fmla="*/ 14473 h 355447"/>
                <a:gd name="connsiteX21" fmla="*/ 143047 w 650727"/>
                <a:gd name="connsiteY21" fmla="*/ 44266 h 355447"/>
                <a:gd name="connsiteX22" fmla="*/ 0 w 650727"/>
                <a:gd name="connsiteY22" fmla="*/ 199528 h 355447"/>
                <a:gd name="connsiteX23" fmla="*/ 383568 w 650727"/>
                <a:gd name="connsiteY23" fmla="*/ 28928 h 355447"/>
                <a:gd name="connsiteX24" fmla="*/ 466965 w 650727"/>
                <a:gd name="connsiteY24" fmla="*/ 28928 h 355447"/>
                <a:gd name="connsiteX25" fmla="*/ 466965 w 650727"/>
                <a:gd name="connsiteY25" fmla="*/ 43607 h 355447"/>
                <a:gd name="connsiteX26" fmla="*/ 383568 w 650727"/>
                <a:gd name="connsiteY26" fmla="*/ 43607 h 355447"/>
                <a:gd name="connsiteX27" fmla="*/ 382775 w 650727"/>
                <a:gd name="connsiteY27" fmla="*/ 72531 h 355447"/>
                <a:gd name="connsiteX28" fmla="*/ 467757 w 650727"/>
                <a:gd name="connsiteY28" fmla="*/ 72531 h 355447"/>
                <a:gd name="connsiteX29" fmla="*/ 467757 w 650727"/>
                <a:gd name="connsiteY29" fmla="*/ 115754 h 355447"/>
                <a:gd name="connsiteX30" fmla="*/ 382775 w 650727"/>
                <a:gd name="connsiteY30" fmla="*/ 115752 h 355447"/>
                <a:gd name="connsiteX31" fmla="*/ 382775 w 650727"/>
                <a:gd name="connsiteY31" fmla="*/ 286627 h 355447"/>
                <a:gd name="connsiteX32" fmla="*/ 517136 w 650727"/>
                <a:gd name="connsiteY32" fmla="*/ 286627 h 355447"/>
                <a:gd name="connsiteX33" fmla="*/ 531599 w 650727"/>
                <a:gd name="connsiteY33" fmla="*/ 272164 h 355447"/>
                <a:gd name="connsiteX34" fmla="*/ 517136 w 650727"/>
                <a:gd name="connsiteY34" fmla="*/ 257701 h 355447"/>
                <a:gd name="connsiteX35" fmla="*/ 496682 w 650727"/>
                <a:gd name="connsiteY35" fmla="*/ 257701 h 355447"/>
                <a:gd name="connsiteX36" fmla="*/ 496682 w 650727"/>
                <a:gd name="connsiteY36" fmla="*/ 240496 h 355447"/>
                <a:gd name="connsiteX37" fmla="*/ 482219 w 650727"/>
                <a:gd name="connsiteY37" fmla="*/ 226033 h 355447"/>
                <a:gd name="connsiteX38" fmla="*/ 467755 w 650727"/>
                <a:gd name="connsiteY38" fmla="*/ 240496 h 355447"/>
                <a:gd name="connsiteX39" fmla="*/ 467755 w 650727"/>
                <a:gd name="connsiteY39" fmla="*/ 257701 h 355447"/>
                <a:gd name="connsiteX40" fmla="*/ 382773 w 650727"/>
                <a:gd name="connsiteY40" fmla="*/ 257703 h 355447"/>
                <a:gd name="connsiteX41" fmla="*/ 382773 w 650727"/>
                <a:gd name="connsiteY41" fmla="*/ 215670 h 355447"/>
                <a:gd name="connsiteX42" fmla="*/ 517134 w 650727"/>
                <a:gd name="connsiteY42" fmla="*/ 215670 h 355447"/>
                <a:gd name="connsiteX43" fmla="*/ 531597 w 650727"/>
                <a:gd name="connsiteY43" fmla="*/ 201207 h 355447"/>
                <a:gd name="connsiteX44" fmla="*/ 517134 w 650727"/>
                <a:gd name="connsiteY44" fmla="*/ 186743 h 355447"/>
                <a:gd name="connsiteX45" fmla="*/ 496680 w 650727"/>
                <a:gd name="connsiteY45" fmla="*/ 186743 h 355447"/>
                <a:gd name="connsiteX46" fmla="*/ 496680 w 650727"/>
                <a:gd name="connsiteY46" fmla="*/ 168826 h 355447"/>
                <a:gd name="connsiteX47" fmla="*/ 482217 w 650727"/>
                <a:gd name="connsiteY47" fmla="*/ 154363 h 355447"/>
                <a:gd name="connsiteX48" fmla="*/ 467753 w 650727"/>
                <a:gd name="connsiteY48" fmla="*/ 168826 h 355447"/>
                <a:gd name="connsiteX49" fmla="*/ 467753 w 650727"/>
                <a:gd name="connsiteY49" fmla="*/ 186743 h 355447"/>
                <a:gd name="connsiteX50" fmla="*/ 382771 w 650727"/>
                <a:gd name="connsiteY50" fmla="*/ 186746 h 355447"/>
                <a:gd name="connsiteX51" fmla="*/ 382771 w 650727"/>
                <a:gd name="connsiteY51" fmla="*/ 144680 h 355447"/>
                <a:gd name="connsiteX52" fmla="*/ 481973 w 650727"/>
                <a:gd name="connsiteY52" fmla="*/ 144680 h 355447"/>
                <a:gd name="connsiteX53" fmla="*/ 482213 w 650727"/>
                <a:gd name="connsiteY53" fmla="*/ 144715 h 355447"/>
                <a:gd name="connsiteX54" fmla="*/ 482453 w 650727"/>
                <a:gd name="connsiteY54" fmla="*/ 144680 h 355447"/>
                <a:gd name="connsiteX55" fmla="*/ 517123 w 650727"/>
                <a:gd name="connsiteY55" fmla="*/ 144680 h 355447"/>
                <a:gd name="connsiteX56" fmla="*/ 531586 w 650727"/>
                <a:gd name="connsiteY56" fmla="*/ 130217 h 355447"/>
                <a:gd name="connsiteX57" fmla="*/ 517123 w 650727"/>
                <a:gd name="connsiteY57" fmla="*/ 115754 h 355447"/>
                <a:gd name="connsiteX58" fmla="*/ 496669 w 650727"/>
                <a:gd name="connsiteY58" fmla="*/ 115754 h 355447"/>
                <a:gd name="connsiteX59" fmla="*/ 496669 w 650727"/>
                <a:gd name="connsiteY59" fmla="*/ 72624 h 355447"/>
                <a:gd name="connsiteX60" fmla="*/ 621798 w 650727"/>
                <a:gd name="connsiteY60" fmla="*/ 199533 h 355447"/>
                <a:gd name="connsiteX61" fmla="*/ 496669 w 650727"/>
                <a:gd name="connsiteY61" fmla="*/ 326429 h 355447"/>
                <a:gd name="connsiteX62" fmla="*/ 496667 w 650727"/>
                <a:gd name="connsiteY62" fmla="*/ 309388 h 355447"/>
                <a:gd name="connsiteX63" fmla="*/ 482203 w 650727"/>
                <a:gd name="connsiteY63" fmla="*/ 294925 h 355447"/>
                <a:gd name="connsiteX64" fmla="*/ 467740 w 650727"/>
                <a:gd name="connsiteY64" fmla="*/ 309388 h 355447"/>
                <a:gd name="connsiteX65" fmla="*/ 467740 w 650727"/>
                <a:gd name="connsiteY65" fmla="*/ 326528 h 355447"/>
                <a:gd name="connsiteX66" fmla="*/ 382771 w 650727"/>
                <a:gd name="connsiteY66" fmla="*/ 326528 h 355447"/>
                <a:gd name="connsiteX67" fmla="*/ 171987 w 650727"/>
                <a:gd name="connsiteY67" fmla="*/ 28930 h 355447"/>
                <a:gd name="connsiteX68" fmla="*/ 255409 w 650727"/>
                <a:gd name="connsiteY68" fmla="*/ 28930 h 355447"/>
                <a:gd name="connsiteX69" fmla="*/ 255409 w 650727"/>
                <a:gd name="connsiteY69" fmla="*/ 43609 h 355447"/>
                <a:gd name="connsiteX70" fmla="*/ 171987 w 650727"/>
                <a:gd name="connsiteY70" fmla="*/ 43609 h 355447"/>
                <a:gd name="connsiteX71" fmla="*/ 155947 w 650727"/>
                <a:gd name="connsiteY71" fmla="*/ 72533 h 355447"/>
                <a:gd name="connsiteX72" fmla="*/ 353856 w 650727"/>
                <a:gd name="connsiteY72" fmla="*/ 72533 h 355447"/>
                <a:gd name="connsiteX73" fmla="*/ 353856 w 650727"/>
                <a:gd name="connsiteY73" fmla="*/ 326539 h 355447"/>
                <a:gd name="connsiteX74" fmla="*/ 155947 w 650727"/>
                <a:gd name="connsiteY74" fmla="*/ 326539 h 355447"/>
                <a:gd name="connsiteX75" fmla="*/ 148816 w 650727"/>
                <a:gd name="connsiteY75" fmla="*/ 326167 h 355447"/>
                <a:gd name="connsiteX76" fmla="*/ 246514 w 650727"/>
                <a:gd name="connsiteY76" fmla="*/ 187219 h 355447"/>
                <a:gd name="connsiteX77" fmla="*/ 249101 w 650727"/>
                <a:gd name="connsiteY77" fmla="*/ 166921 h 355447"/>
                <a:gd name="connsiteX78" fmla="*/ 228829 w 650727"/>
                <a:gd name="connsiteY78" fmla="*/ 164309 h 355447"/>
                <a:gd name="connsiteX79" fmla="*/ 156600 w 650727"/>
                <a:gd name="connsiteY79" fmla="*/ 241357 h 355447"/>
                <a:gd name="connsiteX80" fmla="*/ 162799 w 650727"/>
                <a:gd name="connsiteY80" fmla="*/ 170301 h 355447"/>
                <a:gd name="connsiteX81" fmla="*/ 220427 w 650727"/>
                <a:gd name="connsiteY81" fmla="*/ 140699 h 355447"/>
                <a:gd name="connsiteX82" fmla="*/ 273756 w 650727"/>
                <a:gd name="connsiteY82" fmla="*/ 124493 h 355447"/>
                <a:gd name="connsiteX83" fmla="*/ 260972 w 650727"/>
                <a:gd name="connsiteY83" fmla="*/ 242828 h 355447"/>
                <a:gd name="connsiteX84" fmla="*/ 200849 w 650727"/>
                <a:gd name="connsiteY84" fmla="*/ 270281 h 355447"/>
                <a:gd name="connsiteX85" fmla="*/ 186859 w 650727"/>
                <a:gd name="connsiteY85" fmla="*/ 285182 h 355447"/>
                <a:gd name="connsiteX86" fmla="*/ 201305 w 650727"/>
                <a:gd name="connsiteY86" fmla="*/ 299191 h 355447"/>
                <a:gd name="connsiteX87" fmla="*/ 201760 w 650727"/>
                <a:gd name="connsiteY87" fmla="*/ 299191 h 355447"/>
                <a:gd name="connsiteX88" fmla="*/ 284386 w 650727"/>
                <a:gd name="connsiteY88" fmla="*/ 259821 h 355447"/>
                <a:gd name="connsiteX89" fmla="*/ 296732 w 650727"/>
                <a:gd name="connsiteY89" fmla="*/ 95566 h 355447"/>
                <a:gd name="connsiteX90" fmla="*/ 286467 w 650727"/>
                <a:gd name="connsiteY90" fmla="*/ 85590 h 355447"/>
                <a:gd name="connsiteX91" fmla="*/ 272665 w 650727"/>
                <a:gd name="connsiteY91" fmla="*/ 89316 h 355447"/>
                <a:gd name="connsiteX92" fmla="*/ 215492 w 650727"/>
                <a:gd name="connsiteY92" fmla="*/ 112208 h 355447"/>
                <a:gd name="connsiteX93" fmla="*/ 137880 w 650727"/>
                <a:gd name="connsiteY93" fmla="*/ 155645 h 355447"/>
                <a:gd name="connsiteX94" fmla="*/ 139368 w 650727"/>
                <a:gd name="connsiteY94" fmla="*/ 269612 h 355447"/>
                <a:gd name="connsiteX95" fmla="*/ 120268 w 650727"/>
                <a:gd name="connsiteY95" fmla="*/ 321348 h 355447"/>
                <a:gd name="connsiteX96" fmla="*/ 28937 w 650727"/>
                <a:gd name="connsiteY96" fmla="*/ 199534 h 355447"/>
                <a:gd name="connsiteX97" fmla="*/ 155947 w 650727"/>
                <a:gd name="connsiteY97" fmla="*/ 72537 h 355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650727" h="355447">
                  <a:moveTo>
                    <a:pt x="15" y="199525"/>
                  </a:moveTo>
                  <a:cubicBezTo>
                    <a:pt x="15" y="251921"/>
                    <a:pt x="26065" y="298225"/>
                    <a:pt x="65788" y="326521"/>
                  </a:cubicBezTo>
                  <a:lnTo>
                    <a:pt x="32732" y="326521"/>
                  </a:lnTo>
                  <a:cubicBezTo>
                    <a:pt x="24741" y="326521"/>
                    <a:pt x="18269" y="332992"/>
                    <a:pt x="18269" y="340985"/>
                  </a:cubicBezTo>
                  <a:cubicBezTo>
                    <a:pt x="18269" y="348975"/>
                    <a:pt x="24739" y="355448"/>
                    <a:pt x="32732" y="355448"/>
                  </a:cubicBezTo>
                  <a:lnTo>
                    <a:pt x="618011" y="355448"/>
                  </a:lnTo>
                  <a:cubicBezTo>
                    <a:pt x="626001" y="355448"/>
                    <a:pt x="632474" y="348978"/>
                    <a:pt x="632474" y="340985"/>
                  </a:cubicBezTo>
                  <a:cubicBezTo>
                    <a:pt x="632474" y="332994"/>
                    <a:pt x="626004" y="326521"/>
                    <a:pt x="618011" y="326521"/>
                  </a:cubicBezTo>
                  <a:lnTo>
                    <a:pt x="584954" y="326521"/>
                  </a:lnTo>
                  <a:cubicBezTo>
                    <a:pt x="624697" y="298224"/>
                    <a:pt x="650728" y="251918"/>
                    <a:pt x="650728" y="199525"/>
                  </a:cubicBezTo>
                  <a:cubicBezTo>
                    <a:pt x="650728" y="113903"/>
                    <a:pt x="581363" y="44238"/>
                    <a:pt x="495886" y="43662"/>
                  </a:cubicBezTo>
                  <a:lnTo>
                    <a:pt x="495886" y="14463"/>
                  </a:lnTo>
                  <a:cubicBezTo>
                    <a:pt x="495886" y="6473"/>
                    <a:pt x="489416" y="0"/>
                    <a:pt x="481423" y="0"/>
                  </a:cubicBezTo>
                  <a:lnTo>
                    <a:pt x="369098" y="2"/>
                  </a:lnTo>
                  <a:cubicBezTo>
                    <a:pt x="361107" y="2"/>
                    <a:pt x="354634" y="6473"/>
                    <a:pt x="354634" y="14466"/>
                  </a:cubicBezTo>
                  <a:lnTo>
                    <a:pt x="354634" y="43605"/>
                  </a:lnTo>
                  <a:lnTo>
                    <a:pt x="284317" y="43605"/>
                  </a:lnTo>
                  <a:lnTo>
                    <a:pt x="284317" y="14473"/>
                  </a:lnTo>
                  <a:cubicBezTo>
                    <a:pt x="284317" y="6483"/>
                    <a:pt x="277847" y="10"/>
                    <a:pt x="269854" y="10"/>
                  </a:cubicBezTo>
                  <a:lnTo>
                    <a:pt x="157510" y="10"/>
                  </a:lnTo>
                  <a:cubicBezTo>
                    <a:pt x="149519" y="10"/>
                    <a:pt x="143047" y="6480"/>
                    <a:pt x="143047" y="14473"/>
                  </a:cubicBezTo>
                  <a:lnTo>
                    <a:pt x="143047" y="44266"/>
                  </a:lnTo>
                  <a:cubicBezTo>
                    <a:pt x="63085" y="50834"/>
                    <a:pt x="0" y="117899"/>
                    <a:pt x="0" y="199528"/>
                  </a:cubicBezTo>
                  <a:close/>
                  <a:moveTo>
                    <a:pt x="383568" y="28928"/>
                  </a:moveTo>
                  <a:lnTo>
                    <a:pt x="466965" y="28928"/>
                  </a:lnTo>
                  <a:lnTo>
                    <a:pt x="466965" y="43607"/>
                  </a:lnTo>
                  <a:lnTo>
                    <a:pt x="383568" y="43607"/>
                  </a:lnTo>
                  <a:close/>
                  <a:moveTo>
                    <a:pt x="382775" y="72531"/>
                  </a:moveTo>
                  <a:lnTo>
                    <a:pt x="467757" y="72531"/>
                  </a:lnTo>
                  <a:lnTo>
                    <a:pt x="467757" y="115754"/>
                  </a:lnTo>
                  <a:lnTo>
                    <a:pt x="382775" y="115752"/>
                  </a:lnTo>
                  <a:close/>
                  <a:moveTo>
                    <a:pt x="382775" y="286627"/>
                  </a:moveTo>
                  <a:lnTo>
                    <a:pt x="517136" y="286627"/>
                  </a:lnTo>
                  <a:cubicBezTo>
                    <a:pt x="525126" y="286627"/>
                    <a:pt x="531599" y="280157"/>
                    <a:pt x="531599" y="272164"/>
                  </a:cubicBezTo>
                  <a:cubicBezTo>
                    <a:pt x="531599" y="264174"/>
                    <a:pt x="525129" y="257701"/>
                    <a:pt x="517136" y="257701"/>
                  </a:cubicBezTo>
                  <a:lnTo>
                    <a:pt x="496682" y="257701"/>
                  </a:lnTo>
                  <a:lnTo>
                    <a:pt x="496682" y="240496"/>
                  </a:lnTo>
                  <a:cubicBezTo>
                    <a:pt x="496682" y="232505"/>
                    <a:pt x="490212" y="226033"/>
                    <a:pt x="482219" y="226033"/>
                  </a:cubicBezTo>
                  <a:cubicBezTo>
                    <a:pt x="474228" y="226033"/>
                    <a:pt x="467755" y="232503"/>
                    <a:pt x="467755" y="240496"/>
                  </a:cubicBezTo>
                  <a:lnTo>
                    <a:pt x="467755" y="257701"/>
                  </a:lnTo>
                  <a:lnTo>
                    <a:pt x="382773" y="257703"/>
                  </a:lnTo>
                  <a:lnTo>
                    <a:pt x="382773" y="215670"/>
                  </a:lnTo>
                  <a:lnTo>
                    <a:pt x="517134" y="215670"/>
                  </a:lnTo>
                  <a:cubicBezTo>
                    <a:pt x="525124" y="215670"/>
                    <a:pt x="531597" y="209200"/>
                    <a:pt x="531597" y="201207"/>
                  </a:cubicBezTo>
                  <a:cubicBezTo>
                    <a:pt x="531597" y="193216"/>
                    <a:pt x="525127" y="186743"/>
                    <a:pt x="517134" y="186743"/>
                  </a:cubicBezTo>
                  <a:lnTo>
                    <a:pt x="496680" y="186743"/>
                  </a:lnTo>
                  <a:lnTo>
                    <a:pt x="496680" y="168826"/>
                  </a:lnTo>
                  <a:cubicBezTo>
                    <a:pt x="496680" y="160835"/>
                    <a:pt x="490210" y="154363"/>
                    <a:pt x="482217" y="154363"/>
                  </a:cubicBezTo>
                  <a:cubicBezTo>
                    <a:pt x="474226" y="154363"/>
                    <a:pt x="467753" y="160833"/>
                    <a:pt x="467753" y="168826"/>
                  </a:cubicBezTo>
                  <a:lnTo>
                    <a:pt x="467753" y="186743"/>
                  </a:lnTo>
                  <a:lnTo>
                    <a:pt x="382771" y="186746"/>
                  </a:lnTo>
                  <a:lnTo>
                    <a:pt x="382771" y="144680"/>
                  </a:lnTo>
                  <a:lnTo>
                    <a:pt x="481973" y="144680"/>
                  </a:lnTo>
                  <a:cubicBezTo>
                    <a:pt x="482057" y="144680"/>
                    <a:pt x="482140" y="144715"/>
                    <a:pt x="482213" y="144715"/>
                  </a:cubicBezTo>
                  <a:cubicBezTo>
                    <a:pt x="482287" y="144715"/>
                    <a:pt x="482380" y="144680"/>
                    <a:pt x="482453" y="144680"/>
                  </a:cubicBezTo>
                  <a:lnTo>
                    <a:pt x="517123" y="144680"/>
                  </a:lnTo>
                  <a:cubicBezTo>
                    <a:pt x="525114" y="144680"/>
                    <a:pt x="531586" y="138210"/>
                    <a:pt x="531586" y="130217"/>
                  </a:cubicBezTo>
                  <a:cubicBezTo>
                    <a:pt x="531586" y="122227"/>
                    <a:pt x="525116" y="115754"/>
                    <a:pt x="517123" y="115754"/>
                  </a:cubicBezTo>
                  <a:lnTo>
                    <a:pt x="496669" y="115754"/>
                  </a:lnTo>
                  <a:lnTo>
                    <a:pt x="496669" y="72624"/>
                  </a:lnTo>
                  <a:cubicBezTo>
                    <a:pt x="565833" y="73640"/>
                    <a:pt x="621798" y="130135"/>
                    <a:pt x="621798" y="199533"/>
                  </a:cubicBezTo>
                  <a:cubicBezTo>
                    <a:pt x="621798" y="268916"/>
                    <a:pt x="565840" y="325414"/>
                    <a:pt x="496669" y="326429"/>
                  </a:cubicBezTo>
                  <a:lnTo>
                    <a:pt x="496667" y="309388"/>
                  </a:lnTo>
                  <a:cubicBezTo>
                    <a:pt x="496667" y="301398"/>
                    <a:pt x="490196" y="294925"/>
                    <a:pt x="482203" y="294925"/>
                  </a:cubicBezTo>
                  <a:cubicBezTo>
                    <a:pt x="474213" y="294925"/>
                    <a:pt x="467740" y="301395"/>
                    <a:pt x="467740" y="309388"/>
                  </a:cubicBezTo>
                  <a:lnTo>
                    <a:pt x="467740" y="326528"/>
                  </a:lnTo>
                  <a:lnTo>
                    <a:pt x="382771" y="326528"/>
                  </a:lnTo>
                  <a:close/>
                  <a:moveTo>
                    <a:pt x="171987" y="28930"/>
                  </a:moveTo>
                  <a:lnTo>
                    <a:pt x="255409" y="28930"/>
                  </a:lnTo>
                  <a:lnTo>
                    <a:pt x="255409" y="43609"/>
                  </a:lnTo>
                  <a:lnTo>
                    <a:pt x="171987" y="43609"/>
                  </a:lnTo>
                  <a:close/>
                  <a:moveTo>
                    <a:pt x="155947" y="72533"/>
                  </a:moveTo>
                  <a:lnTo>
                    <a:pt x="353856" y="72533"/>
                  </a:lnTo>
                  <a:lnTo>
                    <a:pt x="353856" y="326539"/>
                  </a:lnTo>
                  <a:lnTo>
                    <a:pt x="155947" y="326539"/>
                  </a:lnTo>
                  <a:cubicBezTo>
                    <a:pt x="153543" y="326539"/>
                    <a:pt x="151188" y="326316"/>
                    <a:pt x="148816" y="326167"/>
                  </a:cubicBezTo>
                  <a:cubicBezTo>
                    <a:pt x="164922" y="251162"/>
                    <a:pt x="245668" y="187889"/>
                    <a:pt x="246514" y="187219"/>
                  </a:cubicBezTo>
                  <a:cubicBezTo>
                    <a:pt x="252827" y="182327"/>
                    <a:pt x="253985" y="173236"/>
                    <a:pt x="249101" y="166921"/>
                  </a:cubicBezTo>
                  <a:cubicBezTo>
                    <a:pt x="244225" y="160608"/>
                    <a:pt x="235152" y="159450"/>
                    <a:pt x="228829" y="164309"/>
                  </a:cubicBezTo>
                  <a:cubicBezTo>
                    <a:pt x="226292" y="166275"/>
                    <a:pt x="187730" y="196441"/>
                    <a:pt x="156600" y="241357"/>
                  </a:cubicBezTo>
                  <a:cubicBezTo>
                    <a:pt x="149914" y="226201"/>
                    <a:pt x="144832" y="200812"/>
                    <a:pt x="162799" y="170301"/>
                  </a:cubicBezTo>
                  <a:cubicBezTo>
                    <a:pt x="175649" y="148474"/>
                    <a:pt x="195402" y="145037"/>
                    <a:pt x="220427" y="140699"/>
                  </a:cubicBezTo>
                  <a:cubicBezTo>
                    <a:pt x="237500" y="137749"/>
                    <a:pt x="256228" y="134500"/>
                    <a:pt x="273756" y="124493"/>
                  </a:cubicBezTo>
                  <a:cubicBezTo>
                    <a:pt x="279920" y="157921"/>
                    <a:pt x="283600" y="211687"/>
                    <a:pt x="260972" y="242828"/>
                  </a:cubicBezTo>
                  <a:cubicBezTo>
                    <a:pt x="248189" y="260422"/>
                    <a:pt x="228528" y="269414"/>
                    <a:pt x="200849" y="270281"/>
                  </a:cubicBezTo>
                  <a:cubicBezTo>
                    <a:pt x="192859" y="270521"/>
                    <a:pt x="186594" y="277207"/>
                    <a:pt x="186859" y="285182"/>
                  </a:cubicBezTo>
                  <a:cubicBezTo>
                    <a:pt x="187099" y="293009"/>
                    <a:pt x="193528" y="299191"/>
                    <a:pt x="201305" y="299191"/>
                  </a:cubicBezTo>
                  <a:lnTo>
                    <a:pt x="201760" y="299191"/>
                  </a:lnTo>
                  <a:cubicBezTo>
                    <a:pt x="238462" y="298025"/>
                    <a:pt x="266262" y="284793"/>
                    <a:pt x="284386" y="259821"/>
                  </a:cubicBezTo>
                  <a:cubicBezTo>
                    <a:pt x="326824" y="201409"/>
                    <a:pt x="297980" y="99859"/>
                    <a:pt x="296732" y="95566"/>
                  </a:cubicBezTo>
                  <a:cubicBezTo>
                    <a:pt x="295295" y="90658"/>
                    <a:pt x="291402" y="86880"/>
                    <a:pt x="286467" y="85590"/>
                  </a:cubicBezTo>
                  <a:cubicBezTo>
                    <a:pt x="281524" y="84351"/>
                    <a:pt x="276302" y="85739"/>
                    <a:pt x="272665" y="89316"/>
                  </a:cubicBezTo>
                  <a:cubicBezTo>
                    <a:pt x="256764" y="105035"/>
                    <a:pt x="236715" y="108522"/>
                    <a:pt x="215492" y="112208"/>
                  </a:cubicBezTo>
                  <a:cubicBezTo>
                    <a:pt x="188311" y="116918"/>
                    <a:pt x="157508" y="122265"/>
                    <a:pt x="137880" y="155645"/>
                  </a:cubicBezTo>
                  <a:cubicBezTo>
                    <a:pt x="109144" y="204428"/>
                    <a:pt x="124303" y="248348"/>
                    <a:pt x="139368" y="269612"/>
                  </a:cubicBezTo>
                  <a:cubicBezTo>
                    <a:pt x="130864" y="285752"/>
                    <a:pt x="124046" y="303155"/>
                    <a:pt x="120268" y="321348"/>
                  </a:cubicBezTo>
                  <a:cubicBezTo>
                    <a:pt x="67563" y="305871"/>
                    <a:pt x="28937" y="257160"/>
                    <a:pt x="28937" y="199534"/>
                  </a:cubicBezTo>
                  <a:cubicBezTo>
                    <a:pt x="28937" y="129511"/>
                    <a:pt x="85902" y="72537"/>
                    <a:pt x="155947" y="72537"/>
                  </a:cubicBezTo>
                  <a:close/>
                </a:path>
              </a:pathLst>
            </a:custGeom>
            <a:grpFill/>
            <a:ln w="0" cap="flat">
              <a:solidFill>
                <a:srgbClr val="F6F8F9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939BDF16-FCDC-F3D8-883C-071763776D6D}"/>
                </a:ext>
              </a:extLst>
            </p:cNvPr>
            <p:cNvSpPr/>
            <p:nvPr/>
          </p:nvSpPr>
          <p:spPr>
            <a:xfrm>
              <a:off x="832614" y="3412511"/>
              <a:ext cx="614212" cy="93007"/>
            </a:xfrm>
            <a:custGeom>
              <a:avLst/>
              <a:gdLst>
                <a:gd name="connsiteX0" fmla="*/ 599752 w 614212"/>
                <a:gd name="connsiteY0" fmla="*/ 32041 h 93007"/>
                <a:gd name="connsiteX1" fmla="*/ 554066 w 614212"/>
                <a:gd name="connsiteY1" fmla="*/ 32041 h 93007"/>
                <a:gd name="connsiteX2" fmla="*/ 509886 w 614212"/>
                <a:gd name="connsiteY2" fmla="*/ 0 h 93007"/>
                <a:gd name="connsiteX3" fmla="*/ 465722 w 614212"/>
                <a:gd name="connsiteY3" fmla="*/ 32041 h 93007"/>
                <a:gd name="connsiteX4" fmla="*/ 427277 w 614212"/>
                <a:gd name="connsiteY4" fmla="*/ 32041 h 93007"/>
                <a:gd name="connsiteX5" fmla="*/ 383128 w 614212"/>
                <a:gd name="connsiteY5" fmla="*/ 0 h 93007"/>
                <a:gd name="connsiteX6" fmla="*/ 338931 w 614212"/>
                <a:gd name="connsiteY6" fmla="*/ 32041 h 93007"/>
                <a:gd name="connsiteX7" fmla="*/ 146418 w 614212"/>
                <a:gd name="connsiteY7" fmla="*/ 32041 h 93007"/>
                <a:gd name="connsiteX8" fmla="*/ 102254 w 614212"/>
                <a:gd name="connsiteY8" fmla="*/ 0 h 93007"/>
                <a:gd name="connsiteX9" fmla="*/ 58074 w 614212"/>
                <a:gd name="connsiteY9" fmla="*/ 32041 h 93007"/>
                <a:gd name="connsiteX10" fmla="*/ 14463 w 614212"/>
                <a:gd name="connsiteY10" fmla="*/ 32041 h 93007"/>
                <a:gd name="connsiteX11" fmla="*/ 0 w 614212"/>
                <a:gd name="connsiteY11" fmla="*/ 46504 h 93007"/>
                <a:gd name="connsiteX12" fmla="*/ 14463 w 614212"/>
                <a:gd name="connsiteY12" fmla="*/ 60967 h 93007"/>
                <a:gd name="connsiteX13" fmla="*/ 58074 w 614212"/>
                <a:gd name="connsiteY13" fmla="*/ 60967 h 93007"/>
                <a:gd name="connsiteX14" fmla="*/ 102254 w 614212"/>
                <a:gd name="connsiteY14" fmla="*/ 93008 h 93007"/>
                <a:gd name="connsiteX15" fmla="*/ 146418 w 614212"/>
                <a:gd name="connsiteY15" fmla="*/ 60967 h 93007"/>
                <a:gd name="connsiteX16" fmla="*/ 338937 w 614212"/>
                <a:gd name="connsiteY16" fmla="*/ 60967 h 93007"/>
                <a:gd name="connsiteX17" fmla="*/ 383135 w 614212"/>
                <a:gd name="connsiteY17" fmla="*/ 93008 h 93007"/>
                <a:gd name="connsiteX18" fmla="*/ 427283 w 614212"/>
                <a:gd name="connsiteY18" fmla="*/ 60967 h 93007"/>
                <a:gd name="connsiteX19" fmla="*/ 465728 w 614212"/>
                <a:gd name="connsiteY19" fmla="*/ 60967 h 93007"/>
                <a:gd name="connsiteX20" fmla="*/ 509892 w 614212"/>
                <a:gd name="connsiteY20" fmla="*/ 93008 h 93007"/>
                <a:gd name="connsiteX21" fmla="*/ 554073 w 614212"/>
                <a:gd name="connsiteY21" fmla="*/ 60967 h 93007"/>
                <a:gd name="connsiteX22" fmla="*/ 599749 w 614212"/>
                <a:gd name="connsiteY22" fmla="*/ 60967 h 93007"/>
                <a:gd name="connsiteX23" fmla="*/ 614212 w 614212"/>
                <a:gd name="connsiteY23" fmla="*/ 46504 h 93007"/>
                <a:gd name="connsiteX24" fmla="*/ 599752 w 614212"/>
                <a:gd name="connsiteY24" fmla="*/ 32041 h 93007"/>
                <a:gd name="connsiteX25" fmla="*/ 102257 w 614212"/>
                <a:gd name="connsiteY25" fmla="*/ 64081 h 93007"/>
                <a:gd name="connsiteX26" fmla="*/ 84679 w 614212"/>
                <a:gd name="connsiteY26" fmla="*/ 46619 h 93007"/>
                <a:gd name="connsiteX27" fmla="*/ 84696 w 614212"/>
                <a:gd name="connsiteY27" fmla="*/ 46504 h 93007"/>
                <a:gd name="connsiteX28" fmla="*/ 84679 w 614212"/>
                <a:gd name="connsiteY28" fmla="*/ 46372 h 93007"/>
                <a:gd name="connsiteX29" fmla="*/ 102257 w 614212"/>
                <a:gd name="connsiteY29" fmla="*/ 28927 h 93007"/>
                <a:gd name="connsiteX30" fmla="*/ 119819 w 614212"/>
                <a:gd name="connsiteY30" fmla="*/ 46504 h 93007"/>
                <a:gd name="connsiteX31" fmla="*/ 102257 w 614212"/>
                <a:gd name="connsiteY31" fmla="*/ 64081 h 93007"/>
                <a:gd name="connsiteX32" fmla="*/ 383136 w 614212"/>
                <a:gd name="connsiteY32" fmla="*/ 64081 h 93007"/>
                <a:gd name="connsiteX33" fmla="*/ 365542 w 614212"/>
                <a:gd name="connsiteY33" fmla="*/ 46504 h 93007"/>
                <a:gd name="connsiteX34" fmla="*/ 383136 w 614212"/>
                <a:gd name="connsiteY34" fmla="*/ 28926 h 93007"/>
                <a:gd name="connsiteX35" fmla="*/ 400698 w 614212"/>
                <a:gd name="connsiteY35" fmla="*/ 46504 h 93007"/>
                <a:gd name="connsiteX36" fmla="*/ 383136 w 614212"/>
                <a:gd name="connsiteY36" fmla="*/ 64081 h 93007"/>
                <a:gd name="connsiteX37" fmla="*/ 509894 w 614212"/>
                <a:gd name="connsiteY37" fmla="*/ 64081 h 93007"/>
                <a:gd name="connsiteX38" fmla="*/ 492317 w 614212"/>
                <a:gd name="connsiteY38" fmla="*/ 46504 h 93007"/>
                <a:gd name="connsiteX39" fmla="*/ 509894 w 614212"/>
                <a:gd name="connsiteY39" fmla="*/ 28926 h 93007"/>
                <a:gd name="connsiteX40" fmla="*/ 527472 w 614212"/>
                <a:gd name="connsiteY40" fmla="*/ 46504 h 93007"/>
                <a:gd name="connsiteX41" fmla="*/ 509894 w 614212"/>
                <a:gd name="connsiteY41" fmla="*/ 64081 h 93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614212" h="93007">
                  <a:moveTo>
                    <a:pt x="599752" y="32041"/>
                  </a:moveTo>
                  <a:lnTo>
                    <a:pt x="554066" y="32041"/>
                  </a:lnTo>
                  <a:cubicBezTo>
                    <a:pt x="547968" y="13462"/>
                    <a:pt x="530479" y="0"/>
                    <a:pt x="509886" y="0"/>
                  </a:cubicBezTo>
                  <a:cubicBezTo>
                    <a:pt x="489307" y="0"/>
                    <a:pt x="471827" y="13462"/>
                    <a:pt x="465722" y="32041"/>
                  </a:cubicBezTo>
                  <a:lnTo>
                    <a:pt x="427277" y="32041"/>
                  </a:lnTo>
                  <a:cubicBezTo>
                    <a:pt x="421194" y="13462"/>
                    <a:pt x="403707" y="0"/>
                    <a:pt x="383128" y="0"/>
                  </a:cubicBezTo>
                  <a:cubicBezTo>
                    <a:pt x="362533" y="0"/>
                    <a:pt x="345039" y="13462"/>
                    <a:pt x="338931" y="32041"/>
                  </a:cubicBezTo>
                  <a:lnTo>
                    <a:pt x="146418" y="32041"/>
                  </a:lnTo>
                  <a:cubicBezTo>
                    <a:pt x="140320" y="13462"/>
                    <a:pt x="122830" y="0"/>
                    <a:pt x="102254" y="0"/>
                  </a:cubicBezTo>
                  <a:cubicBezTo>
                    <a:pt x="81659" y="0"/>
                    <a:pt x="64181" y="13462"/>
                    <a:pt x="58074" y="32041"/>
                  </a:cubicBezTo>
                  <a:lnTo>
                    <a:pt x="14463" y="32041"/>
                  </a:lnTo>
                  <a:cubicBezTo>
                    <a:pt x="6473" y="32041"/>
                    <a:pt x="0" y="38511"/>
                    <a:pt x="0" y="46504"/>
                  </a:cubicBezTo>
                  <a:cubicBezTo>
                    <a:pt x="0" y="54494"/>
                    <a:pt x="6470" y="60967"/>
                    <a:pt x="14463" y="60967"/>
                  </a:cubicBezTo>
                  <a:lnTo>
                    <a:pt x="58074" y="60967"/>
                  </a:lnTo>
                  <a:cubicBezTo>
                    <a:pt x="64172" y="79546"/>
                    <a:pt x="81661" y="93008"/>
                    <a:pt x="102254" y="93008"/>
                  </a:cubicBezTo>
                  <a:cubicBezTo>
                    <a:pt x="122833" y="93008"/>
                    <a:pt x="140312" y="79546"/>
                    <a:pt x="146418" y="60967"/>
                  </a:cubicBezTo>
                  <a:lnTo>
                    <a:pt x="338937" y="60967"/>
                  </a:lnTo>
                  <a:cubicBezTo>
                    <a:pt x="345035" y="79546"/>
                    <a:pt x="362532" y="93008"/>
                    <a:pt x="383135" y="93008"/>
                  </a:cubicBezTo>
                  <a:cubicBezTo>
                    <a:pt x="403713" y="93008"/>
                    <a:pt x="421193" y="79546"/>
                    <a:pt x="427283" y="60967"/>
                  </a:cubicBezTo>
                  <a:lnTo>
                    <a:pt x="465728" y="60967"/>
                  </a:lnTo>
                  <a:cubicBezTo>
                    <a:pt x="471826" y="79546"/>
                    <a:pt x="489316" y="93008"/>
                    <a:pt x="509892" y="93008"/>
                  </a:cubicBezTo>
                  <a:cubicBezTo>
                    <a:pt x="530488" y="93008"/>
                    <a:pt x="547965" y="79546"/>
                    <a:pt x="554073" y="60967"/>
                  </a:cubicBezTo>
                  <a:lnTo>
                    <a:pt x="599749" y="60967"/>
                  </a:lnTo>
                  <a:cubicBezTo>
                    <a:pt x="607740" y="60967"/>
                    <a:pt x="614212" y="54497"/>
                    <a:pt x="614212" y="46504"/>
                  </a:cubicBezTo>
                  <a:cubicBezTo>
                    <a:pt x="614212" y="38511"/>
                    <a:pt x="607735" y="32041"/>
                    <a:pt x="599752" y="32041"/>
                  </a:cubicBezTo>
                  <a:close/>
                  <a:moveTo>
                    <a:pt x="102257" y="64081"/>
                  </a:moveTo>
                  <a:cubicBezTo>
                    <a:pt x="92604" y="64081"/>
                    <a:pt x="84746" y="56255"/>
                    <a:pt x="84679" y="46619"/>
                  </a:cubicBezTo>
                  <a:cubicBezTo>
                    <a:pt x="84679" y="46585"/>
                    <a:pt x="84696" y="46536"/>
                    <a:pt x="84696" y="46504"/>
                  </a:cubicBezTo>
                  <a:cubicBezTo>
                    <a:pt x="84696" y="46455"/>
                    <a:pt x="84679" y="46421"/>
                    <a:pt x="84679" y="46372"/>
                  </a:cubicBezTo>
                  <a:cubicBezTo>
                    <a:pt x="84745" y="36753"/>
                    <a:pt x="92604" y="28927"/>
                    <a:pt x="102257" y="28927"/>
                  </a:cubicBezTo>
                  <a:cubicBezTo>
                    <a:pt x="111941" y="28927"/>
                    <a:pt x="119819" y="36820"/>
                    <a:pt x="119819" y="46504"/>
                  </a:cubicBezTo>
                  <a:cubicBezTo>
                    <a:pt x="119817" y="56189"/>
                    <a:pt x="111941" y="64081"/>
                    <a:pt x="102257" y="64081"/>
                  </a:cubicBezTo>
                  <a:close/>
                  <a:moveTo>
                    <a:pt x="383136" y="64081"/>
                  </a:moveTo>
                  <a:cubicBezTo>
                    <a:pt x="373434" y="64081"/>
                    <a:pt x="365542" y="56188"/>
                    <a:pt x="365542" y="46504"/>
                  </a:cubicBezTo>
                  <a:cubicBezTo>
                    <a:pt x="365542" y="36819"/>
                    <a:pt x="373434" y="28926"/>
                    <a:pt x="383136" y="28926"/>
                  </a:cubicBezTo>
                  <a:cubicBezTo>
                    <a:pt x="392821" y="28926"/>
                    <a:pt x="400698" y="36819"/>
                    <a:pt x="400698" y="46504"/>
                  </a:cubicBezTo>
                  <a:cubicBezTo>
                    <a:pt x="400698" y="56188"/>
                    <a:pt x="392821" y="64081"/>
                    <a:pt x="383136" y="64081"/>
                  </a:cubicBezTo>
                  <a:close/>
                  <a:moveTo>
                    <a:pt x="509894" y="64081"/>
                  </a:moveTo>
                  <a:cubicBezTo>
                    <a:pt x="500210" y="64081"/>
                    <a:pt x="492317" y="56188"/>
                    <a:pt x="492317" y="46504"/>
                  </a:cubicBezTo>
                  <a:cubicBezTo>
                    <a:pt x="492317" y="36819"/>
                    <a:pt x="500210" y="28926"/>
                    <a:pt x="509894" y="28926"/>
                  </a:cubicBezTo>
                  <a:cubicBezTo>
                    <a:pt x="519596" y="28926"/>
                    <a:pt x="527472" y="36819"/>
                    <a:pt x="527472" y="46504"/>
                  </a:cubicBezTo>
                  <a:cubicBezTo>
                    <a:pt x="527474" y="56188"/>
                    <a:pt x="519589" y="64081"/>
                    <a:pt x="509894" y="64081"/>
                  </a:cubicBezTo>
                  <a:close/>
                </a:path>
              </a:pathLst>
            </a:custGeom>
            <a:grpFill/>
            <a:ln w="0" cap="flat">
              <a:solidFill>
                <a:srgbClr val="F6F8F9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sp>
        <p:nvSpPr>
          <p:cNvPr id="35" name="Graphique 50" descr="Pièces contour">
            <a:extLst>
              <a:ext uri="{FF2B5EF4-FFF2-40B4-BE49-F238E27FC236}">
                <a16:creationId xmlns:a16="http://schemas.microsoft.com/office/drawing/2014/main" id="{1CEC95F7-73C1-52A1-B2CB-F51CC1214449}"/>
              </a:ext>
            </a:extLst>
          </p:cNvPr>
          <p:cNvSpPr/>
          <p:nvPr/>
        </p:nvSpPr>
        <p:spPr>
          <a:xfrm>
            <a:off x="9853681" y="3973880"/>
            <a:ext cx="302278" cy="257496"/>
          </a:xfrm>
          <a:custGeom>
            <a:avLst/>
            <a:gdLst>
              <a:gd name="connsiteX0" fmla="*/ 296774 w 316298"/>
              <a:gd name="connsiteY0" fmla="*/ 176112 h 269439"/>
              <a:gd name="connsiteX1" fmla="*/ 296774 w 316298"/>
              <a:gd name="connsiteY1" fmla="*/ 148387 h 269439"/>
              <a:gd name="connsiteX2" fmla="*/ 230390 w 316298"/>
              <a:gd name="connsiteY2" fmla="*/ 112071 h 269439"/>
              <a:gd name="connsiteX3" fmla="*/ 230390 w 316298"/>
              <a:gd name="connsiteY3" fmla="*/ 89813 h 269439"/>
              <a:gd name="connsiteX4" fmla="*/ 210866 w 316298"/>
              <a:gd name="connsiteY4" fmla="*/ 66774 h 269439"/>
              <a:gd name="connsiteX5" fmla="*/ 210866 w 316298"/>
              <a:gd name="connsiteY5" fmla="*/ 39049 h 269439"/>
              <a:gd name="connsiteX6" fmla="*/ 105433 w 316298"/>
              <a:gd name="connsiteY6" fmla="*/ 0 h 269439"/>
              <a:gd name="connsiteX7" fmla="*/ 0 w 316298"/>
              <a:gd name="connsiteY7" fmla="*/ 39049 h 269439"/>
              <a:gd name="connsiteX8" fmla="*/ 0 w 316298"/>
              <a:gd name="connsiteY8" fmla="*/ 70289 h 269439"/>
              <a:gd name="connsiteX9" fmla="*/ 19525 w 316298"/>
              <a:gd name="connsiteY9" fmla="*/ 93718 h 269439"/>
              <a:gd name="connsiteX10" fmla="*/ 19525 w 316298"/>
              <a:gd name="connsiteY10" fmla="*/ 121052 h 269439"/>
              <a:gd name="connsiteX11" fmla="*/ 19525 w 316298"/>
              <a:gd name="connsiteY11" fmla="*/ 121443 h 269439"/>
              <a:gd name="connsiteX12" fmla="*/ 0 w 316298"/>
              <a:gd name="connsiteY12" fmla="*/ 144482 h 269439"/>
              <a:gd name="connsiteX13" fmla="*/ 0 w 316298"/>
              <a:gd name="connsiteY13" fmla="*/ 175721 h 269439"/>
              <a:gd name="connsiteX14" fmla="*/ 105433 w 316298"/>
              <a:gd name="connsiteY14" fmla="*/ 214770 h 269439"/>
              <a:gd name="connsiteX15" fmla="*/ 105433 w 316298"/>
              <a:gd name="connsiteY15" fmla="*/ 230390 h 269439"/>
              <a:gd name="connsiteX16" fmla="*/ 210866 w 316298"/>
              <a:gd name="connsiteY16" fmla="*/ 269439 h 269439"/>
              <a:gd name="connsiteX17" fmla="*/ 316298 w 316298"/>
              <a:gd name="connsiteY17" fmla="*/ 230390 h 269439"/>
              <a:gd name="connsiteX18" fmla="*/ 316298 w 316298"/>
              <a:gd name="connsiteY18" fmla="*/ 199151 h 269439"/>
              <a:gd name="connsiteX19" fmla="*/ 296774 w 316298"/>
              <a:gd name="connsiteY19" fmla="*/ 176112 h 269439"/>
              <a:gd name="connsiteX20" fmla="*/ 308488 w 316298"/>
              <a:gd name="connsiteY20" fmla="*/ 199541 h 269439"/>
              <a:gd name="connsiteX21" fmla="*/ 210866 w 316298"/>
              <a:gd name="connsiteY21" fmla="*/ 230781 h 269439"/>
              <a:gd name="connsiteX22" fmla="*/ 117928 w 316298"/>
              <a:gd name="connsiteY22" fmla="*/ 208523 h 269439"/>
              <a:gd name="connsiteX23" fmla="*/ 117928 w 316298"/>
              <a:gd name="connsiteY23" fmla="*/ 208523 h 269439"/>
              <a:gd name="connsiteX24" fmla="*/ 190950 w 316298"/>
              <a:gd name="connsiteY24" fmla="*/ 219066 h 269439"/>
              <a:gd name="connsiteX25" fmla="*/ 295602 w 316298"/>
              <a:gd name="connsiteY25" fmla="*/ 185093 h 269439"/>
              <a:gd name="connsiteX26" fmla="*/ 308488 w 316298"/>
              <a:gd name="connsiteY26" fmla="*/ 199541 h 269439"/>
              <a:gd name="connsiteX27" fmla="*/ 242105 w 316298"/>
              <a:gd name="connsiteY27" fmla="*/ 236638 h 269439"/>
              <a:gd name="connsiteX28" fmla="*/ 242105 w 316298"/>
              <a:gd name="connsiteY28" fmla="*/ 260067 h 269439"/>
              <a:gd name="connsiteX29" fmla="*/ 226485 w 316298"/>
              <a:gd name="connsiteY29" fmla="*/ 261239 h 269439"/>
              <a:gd name="connsiteX30" fmla="*/ 226485 w 316298"/>
              <a:gd name="connsiteY30" fmla="*/ 237809 h 269439"/>
              <a:gd name="connsiteX31" fmla="*/ 242105 w 316298"/>
              <a:gd name="connsiteY31" fmla="*/ 236638 h 269439"/>
              <a:gd name="connsiteX32" fmla="*/ 249915 w 316298"/>
              <a:gd name="connsiteY32" fmla="*/ 235857 h 269439"/>
              <a:gd name="connsiteX33" fmla="*/ 265534 w 316298"/>
              <a:gd name="connsiteY33" fmla="*/ 233124 h 269439"/>
              <a:gd name="connsiteX34" fmla="*/ 265534 w 316298"/>
              <a:gd name="connsiteY34" fmla="*/ 256163 h 269439"/>
              <a:gd name="connsiteX35" fmla="*/ 249915 w 316298"/>
              <a:gd name="connsiteY35" fmla="*/ 258896 h 269439"/>
              <a:gd name="connsiteX36" fmla="*/ 249915 w 316298"/>
              <a:gd name="connsiteY36" fmla="*/ 235857 h 269439"/>
              <a:gd name="connsiteX37" fmla="*/ 273344 w 316298"/>
              <a:gd name="connsiteY37" fmla="*/ 231171 h 269439"/>
              <a:gd name="connsiteX38" fmla="*/ 288964 w 316298"/>
              <a:gd name="connsiteY38" fmla="*/ 226095 h 269439"/>
              <a:gd name="connsiteX39" fmla="*/ 288964 w 316298"/>
              <a:gd name="connsiteY39" fmla="*/ 248743 h 269439"/>
              <a:gd name="connsiteX40" fmla="*/ 273344 w 316298"/>
              <a:gd name="connsiteY40" fmla="*/ 254210 h 269439"/>
              <a:gd name="connsiteX41" fmla="*/ 273344 w 316298"/>
              <a:gd name="connsiteY41" fmla="*/ 231171 h 269439"/>
              <a:gd name="connsiteX42" fmla="*/ 148387 w 316298"/>
              <a:gd name="connsiteY42" fmla="*/ 254210 h 269439"/>
              <a:gd name="connsiteX43" fmla="*/ 132767 w 316298"/>
              <a:gd name="connsiteY43" fmla="*/ 248743 h 269439"/>
              <a:gd name="connsiteX44" fmla="*/ 132767 w 316298"/>
              <a:gd name="connsiteY44" fmla="*/ 226095 h 269439"/>
              <a:gd name="connsiteX45" fmla="*/ 148387 w 316298"/>
              <a:gd name="connsiteY45" fmla="*/ 231171 h 269439"/>
              <a:gd name="connsiteX46" fmla="*/ 148387 w 316298"/>
              <a:gd name="connsiteY46" fmla="*/ 254210 h 269439"/>
              <a:gd name="connsiteX47" fmla="*/ 156197 w 316298"/>
              <a:gd name="connsiteY47" fmla="*/ 233124 h 269439"/>
              <a:gd name="connsiteX48" fmla="*/ 171816 w 316298"/>
              <a:gd name="connsiteY48" fmla="*/ 235857 h 269439"/>
              <a:gd name="connsiteX49" fmla="*/ 171816 w 316298"/>
              <a:gd name="connsiteY49" fmla="*/ 259286 h 269439"/>
              <a:gd name="connsiteX50" fmla="*/ 156197 w 316298"/>
              <a:gd name="connsiteY50" fmla="*/ 256553 h 269439"/>
              <a:gd name="connsiteX51" fmla="*/ 156197 w 316298"/>
              <a:gd name="connsiteY51" fmla="*/ 233124 h 269439"/>
              <a:gd name="connsiteX52" fmla="*/ 179626 w 316298"/>
              <a:gd name="connsiteY52" fmla="*/ 236638 h 269439"/>
              <a:gd name="connsiteX53" fmla="*/ 195246 w 316298"/>
              <a:gd name="connsiteY53" fmla="*/ 237809 h 269439"/>
              <a:gd name="connsiteX54" fmla="*/ 195246 w 316298"/>
              <a:gd name="connsiteY54" fmla="*/ 261239 h 269439"/>
              <a:gd name="connsiteX55" fmla="*/ 179626 w 316298"/>
              <a:gd name="connsiteY55" fmla="*/ 260067 h 269439"/>
              <a:gd name="connsiteX56" fmla="*/ 179626 w 316298"/>
              <a:gd name="connsiteY56" fmla="*/ 236638 h 269439"/>
              <a:gd name="connsiteX57" fmla="*/ 85908 w 316298"/>
              <a:gd name="connsiteY57" fmla="*/ 148777 h 269439"/>
              <a:gd name="connsiteX58" fmla="*/ 85908 w 316298"/>
              <a:gd name="connsiteY58" fmla="*/ 149949 h 269439"/>
              <a:gd name="connsiteX59" fmla="*/ 70289 w 316298"/>
              <a:gd name="connsiteY59" fmla="*/ 147215 h 269439"/>
              <a:gd name="connsiteX60" fmla="*/ 70289 w 316298"/>
              <a:gd name="connsiteY60" fmla="*/ 124176 h 269439"/>
              <a:gd name="connsiteX61" fmla="*/ 85908 w 316298"/>
              <a:gd name="connsiteY61" fmla="*/ 126910 h 269439"/>
              <a:gd name="connsiteX62" fmla="*/ 85908 w 316298"/>
              <a:gd name="connsiteY62" fmla="*/ 148777 h 269439"/>
              <a:gd name="connsiteX63" fmla="*/ 93718 w 316298"/>
              <a:gd name="connsiteY63" fmla="*/ 180017 h 269439"/>
              <a:gd name="connsiteX64" fmla="*/ 93718 w 316298"/>
              <a:gd name="connsiteY64" fmla="*/ 164397 h 269439"/>
              <a:gd name="connsiteX65" fmla="*/ 105433 w 316298"/>
              <a:gd name="connsiteY65" fmla="*/ 172207 h 269439"/>
              <a:gd name="connsiteX66" fmla="*/ 105433 w 316298"/>
              <a:gd name="connsiteY66" fmla="*/ 194465 h 269439"/>
              <a:gd name="connsiteX67" fmla="*/ 93718 w 316298"/>
              <a:gd name="connsiteY67" fmla="*/ 180017 h 269439"/>
              <a:gd name="connsiteX68" fmla="*/ 93718 w 316298"/>
              <a:gd name="connsiteY68" fmla="*/ 180017 h 269439"/>
              <a:gd name="connsiteX69" fmla="*/ 288964 w 316298"/>
              <a:gd name="connsiteY69" fmla="*/ 180017 h 269439"/>
              <a:gd name="connsiteX70" fmla="*/ 277249 w 316298"/>
              <a:gd name="connsiteY70" fmla="*/ 194074 h 269439"/>
              <a:gd name="connsiteX71" fmla="*/ 277249 w 316298"/>
              <a:gd name="connsiteY71" fmla="*/ 171816 h 269439"/>
              <a:gd name="connsiteX72" fmla="*/ 288964 w 316298"/>
              <a:gd name="connsiteY72" fmla="*/ 164007 h 269439"/>
              <a:gd name="connsiteX73" fmla="*/ 288964 w 316298"/>
              <a:gd name="connsiteY73" fmla="*/ 180017 h 269439"/>
              <a:gd name="connsiteX74" fmla="*/ 269439 w 316298"/>
              <a:gd name="connsiteY74" fmla="*/ 197979 h 269439"/>
              <a:gd name="connsiteX75" fmla="*/ 253820 w 316298"/>
              <a:gd name="connsiteY75" fmla="*/ 203446 h 269439"/>
              <a:gd name="connsiteX76" fmla="*/ 253820 w 316298"/>
              <a:gd name="connsiteY76" fmla="*/ 180407 h 269439"/>
              <a:gd name="connsiteX77" fmla="*/ 269439 w 316298"/>
              <a:gd name="connsiteY77" fmla="*/ 175331 h 269439"/>
              <a:gd name="connsiteX78" fmla="*/ 269439 w 316298"/>
              <a:gd name="connsiteY78" fmla="*/ 197979 h 269439"/>
              <a:gd name="connsiteX79" fmla="*/ 246010 w 316298"/>
              <a:gd name="connsiteY79" fmla="*/ 205399 h 269439"/>
              <a:gd name="connsiteX80" fmla="*/ 230390 w 316298"/>
              <a:gd name="connsiteY80" fmla="*/ 208132 h 269439"/>
              <a:gd name="connsiteX81" fmla="*/ 230390 w 316298"/>
              <a:gd name="connsiteY81" fmla="*/ 184703 h 269439"/>
              <a:gd name="connsiteX82" fmla="*/ 246010 w 316298"/>
              <a:gd name="connsiteY82" fmla="*/ 181969 h 269439"/>
              <a:gd name="connsiteX83" fmla="*/ 246010 w 316298"/>
              <a:gd name="connsiteY83" fmla="*/ 205399 h 269439"/>
              <a:gd name="connsiteX84" fmla="*/ 222580 w 316298"/>
              <a:gd name="connsiteY84" fmla="*/ 209304 h 269439"/>
              <a:gd name="connsiteX85" fmla="*/ 206961 w 316298"/>
              <a:gd name="connsiteY85" fmla="*/ 210475 h 269439"/>
              <a:gd name="connsiteX86" fmla="*/ 206961 w 316298"/>
              <a:gd name="connsiteY86" fmla="*/ 187046 h 269439"/>
              <a:gd name="connsiteX87" fmla="*/ 222580 w 316298"/>
              <a:gd name="connsiteY87" fmla="*/ 185874 h 269439"/>
              <a:gd name="connsiteX88" fmla="*/ 222580 w 316298"/>
              <a:gd name="connsiteY88" fmla="*/ 209304 h 269439"/>
              <a:gd name="connsiteX89" fmla="*/ 199151 w 316298"/>
              <a:gd name="connsiteY89" fmla="*/ 210866 h 269439"/>
              <a:gd name="connsiteX90" fmla="*/ 191341 w 316298"/>
              <a:gd name="connsiteY90" fmla="*/ 210866 h 269439"/>
              <a:gd name="connsiteX91" fmla="*/ 183531 w 316298"/>
              <a:gd name="connsiteY91" fmla="*/ 210866 h 269439"/>
              <a:gd name="connsiteX92" fmla="*/ 183531 w 316298"/>
              <a:gd name="connsiteY92" fmla="*/ 187436 h 269439"/>
              <a:gd name="connsiteX93" fmla="*/ 191341 w 316298"/>
              <a:gd name="connsiteY93" fmla="*/ 187436 h 269439"/>
              <a:gd name="connsiteX94" fmla="*/ 199151 w 316298"/>
              <a:gd name="connsiteY94" fmla="*/ 187436 h 269439"/>
              <a:gd name="connsiteX95" fmla="*/ 199151 w 316298"/>
              <a:gd name="connsiteY95" fmla="*/ 210866 h 269439"/>
              <a:gd name="connsiteX96" fmla="*/ 175721 w 316298"/>
              <a:gd name="connsiteY96" fmla="*/ 210866 h 269439"/>
              <a:gd name="connsiteX97" fmla="*/ 160102 w 316298"/>
              <a:gd name="connsiteY97" fmla="*/ 209694 h 269439"/>
              <a:gd name="connsiteX98" fmla="*/ 160102 w 316298"/>
              <a:gd name="connsiteY98" fmla="*/ 186265 h 269439"/>
              <a:gd name="connsiteX99" fmla="*/ 175721 w 316298"/>
              <a:gd name="connsiteY99" fmla="*/ 187436 h 269439"/>
              <a:gd name="connsiteX100" fmla="*/ 175721 w 316298"/>
              <a:gd name="connsiteY100" fmla="*/ 210866 h 269439"/>
              <a:gd name="connsiteX101" fmla="*/ 152292 w 316298"/>
              <a:gd name="connsiteY101" fmla="*/ 208523 h 269439"/>
              <a:gd name="connsiteX102" fmla="*/ 136672 w 316298"/>
              <a:gd name="connsiteY102" fmla="*/ 205789 h 269439"/>
              <a:gd name="connsiteX103" fmla="*/ 136672 w 316298"/>
              <a:gd name="connsiteY103" fmla="*/ 182750 h 269439"/>
              <a:gd name="connsiteX104" fmla="*/ 152292 w 316298"/>
              <a:gd name="connsiteY104" fmla="*/ 185484 h 269439"/>
              <a:gd name="connsiteX105" fmla="*/ 152292 w 316298"/>
              <a:gd name="connsiteY105" fmla="*/ 208523 h 269439"/>
              <a:gd name="connsiteX106" fmla="*/ 128862 w 316298"/>
              <a:gd name="connsiteY106" fmla="*/ 203446 h 269439"/>
              <a:gd name="connsiteX107" fmla="*/ 113243 w 316298"/>
              <a:gd name="connsiteY107" fmla="*/ 197979 h 269439"/>
              <a:gd name="connsiteX108" fmla="*/ 113243 w 316298"/>
              <a:gd name="connsiteY108" fmla="*/ 175331 h 269439"/>
              <a:gd name="connsiteX109" fmla="*/ 128862 w 316298"/>
              <a:gd name="connsiteY109" fmla="*/ 180407 h 269439"/>
              <a:gd name="connsiteX110" fmla="*/ 128862 w 316298"/>
              <a:gd name="connsiteY110" fmla="*/ 203446 h 269439"/>
              <a:gd name="connsiteX111" fmla="*/ 288964 w 316298"/>
              <a:gd name="connsiteY111" fmla="*/ 148777 h 269439"/>
              <a:gd name="connsiteX112" fmla="*/ 191341 w 316298"/>
              <a:gd name="connsiteY112" fmla="*/ 180017 h 269439"/>
              <a:gd name="connsiteX113" fmla="*/ 93718 w 316298"/>
              <a:gd name="connsiteY113" fmla="*/ 148777 h 269439"/>
              <a:gd name="connsiteX114" fmla="*/ 191341 w 316298"/>
              <a:gd name="connsiteY114" fmla="*/ 117538 h 269439"/>
              <a:gd name="connsiteX115" fmla="*/ 288964 w 316298"/>
              <a:gd name="connsiteY115" fmla="*/ 148777 h 269439"/>
              <a:gd name="connsiteX116" fmla="*/ 93718 w 316298"/>
              <a:gd name="connsiteY116" fmla="*/ 133158 h 269439"/>
              <a:gd name="connsiteX117" fmla="*/ 93718 w 316298"/>
              <a:gd name="connsiteY117" fmla="*/ 127300 h 269439"/>
              <a:gd name="connsiteX118" fmla="*/ 100747 w 316298"/>
              <a:gd name="connsiteY118" fmla="*/ 128081 h 269439"/>
              <a:gd name="connsiteX119" fmla="*/ 93718 w 316298"/>
              <a:gd name="connsiteY119" fmla="*/ 133158 h 269439"/>
              <a:gd name="connsiteX120" fmla="*/ 215942 w 316298"/>
              <a:gd name="connsiteY120" fmla="*/ 110509 h 269439"/>
              <a:gd name="connsiteX121" fmla="*/ 222971 w 316298"/>
              <a:gd name="connsiteY121" fmla="*/ 105433 h 269439"/>
              <a:gd name="connsiteX122" fmla="*/ 222971 w 316298"/>
              <a:gd name="connsiteY122" fmla="*/ 111290 h 269439"/>
              <a:gd name="connsiteX123" fmla="*/ 215942 w 316298"/>
              <a:gd name="connsiteY123" fmla="*/ 110509 h 269439"/>
              <a:gd name="connsiteX124" fmla="*/ 210085 w 316298"/>
              <a:gd name="connsiteY124" fmla="*/ 75365 h 269439"/>
              <a:gd name="connsiteX125" fmla="*/ 222580 w 316298"/>
              <a:gd name="connsiteY125" fmla="*/ 89813 h 269439"/>
              <a:gd name="connsiteX126" fmla="*/ 199541 w 316298"/>
              <a:gd name="connsiteY126" fmla="*/ 109338 h 269439"/>
              <a:gd name="connsiteX127" fmla="*/ 191341 w 316298"/>
              <a:gd name="connsiteY127" fmla="*/ 109338 h 269439"/>
              <a:gd name="connsiteX128" fmla="*/ 115195 w 316298"/>
              <a:gd name="connsiteY128" fmla="*/ 121052 h 269439"/>
              <a:gd name="connsiteX129" fmla="*/ 32411 w 316298"/>
              <a:gd name="connsiteY129" fmla="*/ 99185 h 269439"/>
              <a:gd name="connsiteX130" fmla="*/ 32411 w 316298"/>
              <a:gd name="connsiteY130" fmla="*/ 99185 h 269439"/>
              <a:gd name="connsiteX131" fmla="*/ 105433 w 316298"/>
              <a:gd name="connsiteY131" fmla="*/ 109728 h 269439"/>
              <a:gd name="connsiteX132" fmla="*/ 210085 w 316298"/>
              <a:gd name="connsiteY132" fmla="*/ 75365 h 269439"/>
              <a:gd name="connsiteX133" fmla="*/ 62479 w 316298"/>
              <a:gd name="connsiteY133" fmla="*/ 121833 h 269439"/>
              <a:gd name="connsiteX134" fmla="*/ 62479 w 316298"/>
              <a:gd name="connsiteY134" fmla="*/ 144872 h 269439"/>
              <a:gd name="connsiteX135" fmla="*/ 46859 w 316298"/>
              <a:gd name="connsiteY135" fmla="*/ 139406 h 269439"/>
              <a:gd name="connsiteX136" fmla="*/ 46859 w 316298"/>
              <a:gd name="connsiteY136" fmla="*/ 116757 h 269439"/>
              <a:gd name="connsiteX137" fmla="*/ 62479 w 316298"/>
              <a:gd name="connsiteY137" fmla="*/ 121833 h 269439"/>
              <a:gd name="connsiteX138" fmla="*/ 39049 w 316298"/>
              <a:gd name="connsiteY138" fmla="*/ 113243 h 269439"/>
              <a:gd name="connsiteX139" fmla="*/ 39049 w 316298"/>
              <a:gd name="connsiteY139" fmla="*/ 135501 h 269439"/>
              <a:gd name="connsiteX140" fmla="*/ 27334 w 316298"/>
              <a:gd name="connsiteY140" fmla="*/ 121443 h 269439"/>
              <a:gd name="connsiteX141" fmla="*/ 27334 w 316298"/>
              <a:gd name="connsiteY141" fmla="*/ 105823 h 269439"/>
              <a:gd name="connsiteX142" fmla="*/ 39049 w 316298"/>
              <a:gd name="connsiteY142" fmla="*/ 113243 h 269439"/>
              <a:gd name="connsiteX143" fmla="*/ 27334 w 316298"/>
              <a:gd name="connsiteY143" fmla="*/ 88642 h 269439"/>
              <a:gd name="connsiteX144" fmla="*/ 27334 w 316298"/>
              <a:gd name="connsiteY144" fmla="*/ 65993 h 269439"/>
              <a:gd name="connsiteX145" fmla="*/ 42954 w 316298"/>
              <a:gd name="connsiteY145" fmla="*/ 71069 h 269439"/>
              <a:gd name="connsiteX146" fmla="*/ 42954 w 316298"/>
              <a:gd name="connsiteY146" fmla="*/ 94108 h 269439"/>
              <a:gd name="connsiteX147" fmla="*/ 27334 w 316298"/>
              <a:gd name="connsiteY147" fmla="*/ 88642 h 269439"/>
              <a:gd name="connsiteX148" fmla="*/ 50764 w 316298"/>
              <a:gd name="connsiteY148" fmla="*/ 96061 h 269439"/>
              <a:gd name="connsiteX149" fmla="*/ 50764 w 316298"/>
              <a:gd name="connsiteY149" fmla="*/ 73022 h 269439"/>
              <a:gd name="connsiteX150" fmla="*/ 66384 w 316298"/>
              <a:gd name="connsiteY150" fmla="*/ 75755 h 269439"/>
              <a:gd name="connsiteX151" fmla="*/ 66384 w 316298"/>
              <a:gd name="connsiteY151" fmla="*/ 99185 h 269439"/>
              <a:gd name="connsiteX152" fmla="*/ 50764 w 316298"/>
              <a:gd name="connsiteY152" fmla="*/ 96061 h 269439"/>
              <a:gd name="connsiteX153" fmla="*/ 74193 w 316298"/>
              <a:gd name="connsiteY153" fmla="*/ 99966 h 269439"/>
              <a:gd name="connsiteX154" fmla="*/ 74193 w 316298"/>
              <a:gd name="connsiteY154" fmla="*/ 76536 h 269439"/>
              <a:gd name="connsiteX155" fmla="*/ 89813 w 316298"/>
              <a:gd name="connsiteY155" fmla="*/ 77708 h 269439"/>
              <a:gd name="connsiteX156" fmla="*/ 89813 w 316298"/>
              <a:gd name="connsiteY156" fmla="*/ 101137 h 269439"/>
              <a:gd name="connsiteX157" fmla="*/ 74193 w 316298"/>
              <a:gd name="connsiteY157" fmla="*/ 99966 h 269439"/>
              <a:gd name="connsiteX158" fmla="*/ 97623 w 316298"/>
              <a:gd name="connsiteY158" fmla="*/ 101528 h 269439"/>
              <a:gd name="connsiteX159" fmla="*/ 97623 w 316298"/>
              <a:gd name="connsiteY159" fmla="*/ 78098 h 269439"/>
              <a:gd name="connsiteX160" fmla="*/ 105433 w 316298"/>
              <a:gd name="connsiteY160" fmla="*/ 78098 h 269439"/>
              <a:gd name="connsiteX161" fmla="*/ 113243 w 316298"/>
              <a:gd name="connsiteY161" fmla="*/ 78098 h 269439"/>
              <a:gd name="connsiteX162" fmla="*/ 113243 w 316298"/>
              <a:gd name="connsiteY162" fmla="*/ 101528 h 269439"/>
              <a:gd name="connsiteX163" fmla="*/ 105433 w 316298"/>
              <a:gd name="connsiteY163" fmla="*/ 101528 h 269439"/>
              <a:gd name="connsiteX164" fmla="*/ 97623 w 316298"/>
              <a:gd name="connsiteY164" fmla="*/ 101528 h 269439"/>
              <a:gd name="connsiteX165" fmla="*/ 121052 w 316298"/>
              <a:gd name="connsiteY165" fmla="*/ 101528 h 269439"/>
              <a:gd name="connsiteX166" fmla="*/ 121052 w 316298"/>
              <a:gd name="connsiteY166" fmla="*/ 78098 h 269439"/>
              <a:gd name="connsiteX167" fmla="*/ 136672 w 316298"/>
              <a:gd name="connsiteY167" fmla="*/ 76927 h 269439"/>
              <a:gd name="connsiteX168" fmla="*/ 136672 w 316298"/>
              <a:gd name="connsiteY168" fmla="*/ 100356 h 269439"/>
              <a:gd name="connsiteX169" fmla="*/ 121052 w 316298"/>
              <a:gd name="connsiteY169" fmla="*/ 101528 h 269439"/>
              <a:gd name="connsiteX170" fmla="*/ 144482 w 316298"/>
              <a:gd name="connsiteY170" fmla="*/ 99185 h 269439"/>
              <a:gd name="connsiteX171" fmla="*/ 144482 w 316298"/>
              <a:gd name="connsiteY171" fmla="*/ 75755 h 269439"/>
              <a:gd name="connsiteX172" fmla="*/ 160102 w 316298"/>
              <a:gd name="connsiteY172" fmla="*/ 73022 h 269439"/>
              <a:gd name="connsiteX173" fmla="*/ 160102 w 316298"/>
              <a:gd name="connsiteY173" fmla="*/ 96061 h 269439"/>
              <a:gd name="connsiteX174" fmla="*/ 144482 w 316298"/>
              <a:gd name="connsiteY174" fmla="*/ 99185 h 269439"/>
              <a:gd name="connsiteX175" fmla="*/ 167911 w 316298"/>
              <a:gd name="connsiteY175" fmla="*/ 94108 h 269439"/>
              <a:gd name="connsiteX176" fmla="*/ 167911 w 316298"/>
              <a:gd name="connsiteY176" fmla="*/ 71069 h 269439"/>
              <a:gd name="connsiteX177" fmla="*/ 183531 w 316298"/>
              <a:gd name="connsiteY177" fmla="*/ 65993 h 269439"/>
              <a:gd name="connsiteX178" fmla="*/ 183531 w 316298"/>
              <a:gd name="connsiteY178" fmla="*/ 88642 h 269439"/>
              <a:gd name="connsiteX179" fmla="*/ 167911 w 316298"/>
              <a:gd name="connsiteY179" fmla="*/ 94108 h 269439"/>
              <a:gd name="connsiteX180" fmla="*/ 191341 w 316298"/>
              <a:gd name="connsiteY180" fmla="*/ 84737 h 269439"/>
              <a:gd name="connsiteX181" fmla="*/ 191341 w 316298"/>
              <a:gd name="connsiteY181" fmla="*/ 62479 h 269439"/>
              <a:gd name="connsiteX182" fmla="*/ 203056 w 316298"/>
              <a:gd name="connsiteY182" fmla="*/ 54669 h 269439"/>
              <a:gd name="connsiteX183" fmla="*/ 203056 w 316298"/>
              <a:gd name="connsiteY183" fmla="*/ 70289 h 269439"/>
              <a:gd name="connsiteX184" fmla="*/ 191341 w 316298"/>
              <a:gd name="connsiteY184" fmla="*/ 84737 h 269439"/>
              <a:gd name="connsiteX185" fmla="*/ 19525 w 316298"/>
              <a:gd name="connsiteY185" fmla="*/ 84737 h 269439"/>
              <a:gd name="connsiteX186" fmla="*/ 7810 w 316298"/>
              <a:gd name="connsiteY186" fmla="*/ 70679 h 269439"/>
              <a:gd name="connsiteX187" fmla="*/ 7810 w 316298"/>
              <a:gd name="connsiteY187" fmla="*/ 55059 h 269439"/>
              <a:gd name="connsiteX188" fmla="*/ 19525 w 316298"/>
              <a:gd name="connsiteY188" fmla="*/ 62869 h 269439"/>
              <a:gd name="connsiteX189" fmla="*/ 19525 w 316298"/>
              <a:gd name="connsiteY189" fmla="*/ 84737 h 269439"/>
              <a:gd name="connsiteX190" fmla="*/ 7810 w 316298"/>
              <a:gd name="connsiteY190" fmla="*/ 39440 h 269439"/>
              <a:gd name="connsiteX191" fmla="*/ 105433 w 316298"/>
              <a:gd name="connsiteY191" fmla="*/ 8200 h 269439"/>
              <a:gd name="connsiteX192" fmla="*/ 203056 w 316298"/>
              <a:gd name="connsiteY192" fmla="*/ 39440 h 269439"/>
              <a:gd name="connsiteX193" fmla="*/ 105433 w 316298"/>
              <a:gd name="connsiteY193" fmla="*/ 70679 h 269439"/>
              <a:gd name="connsiteX194" fmla="*/ 7810 w 316298"/>
              <a:gd name="connsiteY194" fmla="*/ 39440 h 269439"/>
              <a:gd name="connsiteX195" fmla="*/ 21477 w 316298"/>
              <a:gd name="connsiteY195" fmla="*/ 129253 h 269439"/>
              <a:gd name="connsiteX196" fmla="*/ 85908 w 316298"/>
              <a:gd name="connsiteY196" fmla="*/ 157368 h 269439"/>
              <a:gd name="connsiteX197" fmla="*/ 85908 w 316298"/>
              <a:gd name="connsiteY197" fmla="*/ 174940 h 269439"/>
              <a:gd name="connsiteX198" fmla="*/ 7810 w 316298"/>
              <a:gd name="connsiteY198" fmla="*/ 144482 h 269439"/>
              <a:gd name="connsiteX199" fmla="*/ 21477 w 316298"/>
              <a:gd name="connsiteY199" fmla="*/ 129253 h 269439"/>
              <a:gd name="connsiteX200" fmla="*/ 19525 w 316298"/>
              <a:gd name="connsiteY200" fmla="*/ 190169 h 269439"/>
              <a:gd name="connsiteX201" fmla="*/ 7810 w 316298"/>
              <a:gd name="connsiteY201" fmla="*/ 176112 h 269439"/>
              <a:gd name="connsiteX202" fmla="*/ 7810 w 316298"/>
              <a:gd name="connsiteY202" fmla="*/ 160492 h 269439"/>
              <a:gd name="connsiteX203" fmla="*/ 19525 w 316298"/>
              <a:gd name="connsiteY203" fmla="*/ 168302 h 269439"/>
              <a:gd name="connsiteX204" fmla="*/ 19525 w 316298"/>
              <a:gd name="connsiteY204" fmla="*/ 190169 h 269439"/>
              <a:gd name="connsiteX205" fmla="*/ 42954 w 316298"/>
              <a:gd name="connsiteY205" fmla="*/ 199541 h 269439"/>
              <a:gd name="connsiteX206" fmla="*/ 27334 w 316298"/>
              <a:gd name="connsiteY206" fmla="*/ 194074 h 269439"/>
              <a:gd name="connsiteX207" fmla="*/ 27334 w 316298"/>
              <a:gd name="connsiteY207" fmla="*/ 171426 h 269439"/>
              <a:gd name="connsiteX208" fmla="*/ 42954 w 316298"/>
              <a:gd name="connsiteY208" fmla="*/ 176502 h 269439"/>
              <a:gd name="connsiteX209" fmla="*/ 42954 w 316298"/>
              <a:gd name="connsiteY209" fmla="*/ 199541 h 269439"/>
              <a:gd name="connsiteX210" fmla="*/ 66384 w 316298"/>
              <a:gd name="connsiteY210" fmla="*/ 204618 h 269439"/>
              <a:gd name="connsiteX211" fmla="*/ 50764 w 316298"/>
              <a:gd name="connsiteY211" fmla="*/ 201884 h 269439"/>
              <a:gd name="connsiteX212" fmla="*/ 50764 w 316298"/>
              <a:gd name="connsiteY212" fmla="*/ 178845 h 269439"/>
              <a:gd name="connsiteX213" fmla="*/ 66384 w 316298"/>
              <a:gd name="connsiteY213" fmla="*/ 181579 h 269439"/>
              <a:gd name="connsiteX214" fmla="*/ 66384 w 316298"/>
              <a:gd name="connsiteY214" fmla="*/ 204618 h 269439"/>
              <a:gd name="connsiteX215" fmla="*/ 74193 w 316298"/>
              <a:gd name="connsiteY215" fmla="*/ 181969 h 269439"/>
              <a:gd name="connsiteX216" fmla="*/ 86299 w 316298"/>
              <a:gd name="connsiteY216" fmla="*/ 183141 h 269439"/>
              <a:gd name="connsiteX217" fmla="*/ 89813 w 316298"/>
              <a:gd name="connsiteY217" fmla="*/ 191341 h 269439"/>
              <a:gd name="connsiteX218" fmla="*/ 89813 w 316298"/>
              <a:gd name="connsiteY218" fmla="*/ 206961 h 269439"/>
              <a:gd name="connsiteX219" fmla="*/ 74193 w 316298"/>
              <a:gd name="connsiteY219" fmla="*/ 205789 h 269439"/>
              <a:gd name="connsiteX220" fmla="*/ 74193 w 316298"/>
              <a:gd name="connsiteY220" fmla="*/ 181969 h 269439"/>
              <a:gd name="connsiteX221" fmla="*/ 97623 w 316298"/>
              <a:gd name="connsiteY221" fmla="*/ 198370 h 269439"/>
              <a:gd name="connsiteX222" fmla="*/ 105433 w 316298"/>
              <a:gd name="connsiteY222" fmla="*/ 203056 h 269439"/>
              <a:gd name="connsiteX223" fmla="*/ 105433 w 316298"/>
              <a:gd name="connsiteY223" fmla="*/ 206961 h 269439"/>
              <a:gd name="connsiteX224" fmla="*/ 97623 w 316298"/>
              <a:gd name="connsiteY224" fmla="*/ 206961 h 269439"/>
              <a:gd name="connsiteX225" fmla="*/ 97623 w 316298"/>
              <a:gd name="connsiteY225" fmla="*/ 198370 h 269439"/>
              <a:gd name="connsiteX226" fmla="*/ 113243 w 316298"/>
              <a:gd name="connsiteY226" fmla="*/ 230781 h 269439"/>
              <a:gd name="connsiteX227" fmla="*/ 113243 w 316298"/>
              <a:gd name="connsiteY227" fmla="*/ 215161 h 269439"/>
              <a:gd name="connsiteX228" fmla="*/ 124957 w 316298"/>
              <a:gd name="connsiteY228" fmla="*/ 222971 h 269439"/>
              <a:gd name="connsiteX229" fmla="*/ 124957 w 316298"/>
              <a:gd name="connsiteY229" fmla="*/ 245229 h 269439"/>
              <a:gd name="connsiteX230" fmla="*/ 113243 w 316298"/>
              <a:gd name="connsiteY230" fmla="*/ 230781 h 269439"/>
              <a:gd name="connsiteX231" fmla="*/ 113243 w 316298"/>
              <a:gd name="connsiteY231" fmla="*/ 230781 h 269439"/>
              <a:gd name="connsiteX232" fmla="*/ 203056 w 316298"/>
              <a:gd name="connsiteY232" fmla="*/ 238200 h 269439"/>
              <a:gd name="connsiteX233" fmla="*/ 210866 w 316298"/>
              <a:gd name="connsiteY233" fmla="*/ 238200 h 269439"/>
              <a:gd name="connsiteX234" fmla="*/ 218675 w 316298"/>
              <a:gd name="connsiteY234" fmla="*/ 238200 h 269439"/>
              <a:gd name="connsiteX235" fmla="*/ 218675 w 316298"/>
              <a:gd name="connsiteY235" fmla="*/ 261629 h 269439"/>
              <a:gd name="connsiteX236" fmla="*/ 210866 w 316298"/>
              <a:gd name="connsiteY236" fmla="*/ 261629 h 269439"/>
              <a:gd name="connsiteX237" fmla="*/ 203056 w 316298"/>
              <a:gd name="connsiteY237" fmla="*/ 261629 h 269439"/>
              <a:gd name="connsiteX238" fmla="*/ 203056 w 316298"/>
              <a:gd name="connsiteY238" fmla="*/ 238200 h 269439"/>
              <a:gd name="connsiteX239" fmla="*/ 296774 w 316298"/>
              <a:gd name="connsiteY239" fmla="*/ 222580 h 269439"/>
              <a:gd name="connsiteX240" fmla="*/ 308488 w 316298"/>
              <a:gd name="connsiteY240" fmla="*/ 214770 h 269439"/>
              <a:gd name="connsiteX241" fmla="*/ 308488 w 316298"/>
              <a:gd name="connsiteY241" fmla="*/ 230390 h 269439"/>
              <a:gd name="connsiteX242" fmla="*/ 296774 w 316298"/>
              <a:gd name="connsiteY242" fmla="*/ 244448 h 269439"/>
              <a:gd name="connsiteX243" fmla="*/ 296774 w 316298"/>
              <a:gd name="connsiteY243" fmla="*/ 222580 h 269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</a:cxnLst>
            <a:rect l="l" t="t" r="r" b="b"/>
            <a:pathLst>
              <a:path w="316298" h="269439">
                <a:moveTo>
                  <a:pt x="296774" y="176112"/>
                </a:moveTo>
                <a:lnTo>
                  <a:pt x="296774" y="148387"/>
                </a:lnTo>
                <a:cubicBezTo>
                  <a:pt x="296774" y="129643"/>
                  <a:pt x="266706" y="117147"/>
                  <a:pt x="230390" y="112071"/>
                </a:cubicBezTo>
                <a:lnTo>
                  <a:pt x="230390" y="89813"/>
                </a:lnTo>
                <a:cubicBezTo>
                  <a:pt x="230390" y="83565"/>
                  <a:pt x="226876" y="74974"/>
                  <a:pt x="210866" y="66774"/>
                </a:cubicBezTo>
                <a:lnTo>
                  <a:pt x="210866" y="39049"/>
                </a:lnTo>
                <a:cubicBezTo>
                  <a:pt x="210866" y="13667"/>
                  <a:pt x="156587" y="0"/>
                  <a:pt x="105433" y="0"/>
                </a:cubicBezTo>
                <a:cubicBezTo>
                  <a:pt x="54278" y="0"/>
                  <a:pt x="0" y="13667"/>
                  <a:pt x="0" y="39049"/>
                </a:cubicBezTo>
                <a:lnTo>
                  <a:pt x="0" y="70289"/>
                </a:lnTo>
                <a:cubicBezTo>
                  <a:pt x="0" y="79660"/>
                  <a:pt x="7419" y="87470"/>
                  <a:pt x="19525" y="93718"/>
                </a:cubicBezTo>
                <a:lnTo>
                  <a:pt x="19525" y="121052"/>
                </a:lnTo>
                <a:cubicBezTo>
                  <a:pt x="19525" y="121052"/>
                  <a:pt x="19525" y="121052"/>
                  <a:pt x="19525" y="121443"/>
                </a:cubicBezTo>
                <a:cubicBezTo>
                  <a:pt x="3514" y="129643"/>
                  <a:pt x="0" y="138625"/>
                  <a:pt x="0" y="144482"/>
                </a:cubicBezTo>
                <a:lnTo>
                  <a:pt x="0" y="175721"/>
                </a:lnTo>
                <a:cubicBezTo>
                  <a:pt x="0" y="201103"/>
                  <a:pt x="54278" y="214770"/>
                  <a:pt x="105433" y="214770"/>
                </a:cubicBezTo>
                <a:lnTo>
                  <a:pt x="105433" y="230390"/>
                </a:lnTo>
                <a:cubicBezTo>
                  <a:pt x="105433" y="255772"/>
                  <a:pt x="159711" y="269439"/>
                  <a:pt x="210866" y="269439"/>
                </a:cubicBezTo>
                <a:cubicBezTo>
                  <a:pt x="262020" y="269439"/>
                  <a:pt x="316298" y="255772"/>
                  <a:pt x="316298" y="230390"/>
                </a:cubicBezTo>
                <a:lnTo>
                  <a:pt x="316298" y="199151"/>
                </a:lnTo>
                <a:cubicBezTo>
                  <a:pt x="316298" y="193293"/>
                  <a:pt x="312784" y="184312"/>
                  <a:pt x="296774" y="176112"/>
                </a:cubicBezTo>
                <a:close/>
                <a:moveTo>
                  <a:pt x="308488" y="199541"/>
                </a:moveTo>
                <a:cubicBezTo>
                  <a:pt x="308488" y="214380"/>
                  <a:pt x="268268" y="230781"/>
                  <a:pt x="210866" y="230781"/>
                </a:cubicBezTo>
                <a:cubicBezTo>
                  <a:pt x="165178" y="230781"/>
                  <a:pt x="130424" y="220237"/>
                  <a:pt x="117928" y="208523"/>
                </a:cubicBezTo>
                <a:cubicBezTo>
                  <a:pt x="117928" y="208523"/>
                  <a:pt x="117928" y="208523"/>
                  <a:pt x="117928" y="208523"/>
                </a:cubicBezTo>
                <a:cubicBezTo>
                  <a:pt x="141748" y="215942"/>
                  <a:pt x="166349" y="219456"/>
                  <a:pt x="190950" y="219066"/>
                </a:cubicBezTo>
                <a:cubicBezTo>
                  <a:pt x="238590" y="219066"/>
                  <a:pt x="289354" y="206961"/>
                  <a:pt x="295602" y="185093"/>
                </a:cubicBezTo>
                <a:cubicBezTo>
                  <a:pt x="304193" y="189388"/>
                  <a:pt x="308488" y="194465"/>
                  <a:pt x="308488" y="199541"/>
                </a:cubicBezTo>
                <a:close/>
                <a:moveTo>
                  <a:pt x="242105" y="236638"/>
                </a:moveTo>
                <a:lnTo>
                  <a:pt x="242105" y="260067"/>
                </a:lnTo>
                <a:cubicBezTo>
                  <a:pt x="237028" y="260458"/>
                  <a:pt x="231952" y="261239"/>
                  <a:pt x="226485" y="261239"/>
                </a:cubicBezTo>
                <a:lnTo>
                  <a:pt x="226485" y="237809"/>
                </a:lnTo>
                <a:cubicBezTo>
                  <a:pt x="231952" y="237809"/>
                  <a:pt x="237028" y="237419"/>
                  <a:pt x="242105" y="236638"/>
                </a:cubicBezTo>
                <a:close/>
                <a:moveTo>
                  <a:pt x="249915" y="235857"/>
                </a:moveTo>
                <a:cubicBezTo>
                  <a:pt x="255382" y="235076"/>
                  <a:pt x="260458" y="234295"/>
                  <a:pt x="265534" y="233124"/>
                </a:cubicBezTo>
                <a:lnTo>
                  <a:pt x="265534" y="256163"/>
                </a:lnTo>
                <a:cubicBezTo>
                  <a:pt x="260848" y="257334"/>
                  <a:pt x="255382" y="258115"/>
                  <a:pt x="249915" y="258896"/>
                </a:cubicBezTo>
                <a:lnTo>
                  <a:pt x="249915" y="235857"/>
                </a:lnTo>
                <a:close/>
                <a:moveTo>
                  <a:pt x="273344" y="231171"/>
                </a:moveTo>
                <a:cubicBezTo>
                  <a:pt x="278811" y="230000"/>
                  <a:pt x="283887" y="228047"/>
                  <a:pt x="288964" y="226095"/>
                </a:cubicBezTo>
                <a:lnTo>
                  <a:pt x="288964" y="248743"/>
                </a:lnTo>
                <a:cubicBezTo>
                  <a:pt x="283887" y="251086"/>
                  <a:pt x="278811" y="252648"/>
                  <a:pt x="273344" y="254210"/>
                </a:cubicBezTo>
                <a:lnTo>
                  <a:pt x="273344" y="231171"/>
                </a:lnTo>
                <a:close/>
                <a:moveTo>
                  <a:pt x="148387" y="254210"/>
                </a:moveTo>
                <a:cubicBezTo>
                  <a:pt x="142920" y="252648"/>
                  <a:pt x="137844" y="251086"/>
                  <a:pt x="132767" y="248743"/>
                </a:cubicBezTo>
                <a:lnTo>
                  <a:pt x="132767" y="226095"/>
                </a:lnTo>
                <a:cubicBezTo>
                  <a:pt x="137844" y="228047"/>
                  <a:pt x="142920" y="229609"/>
                  <a:pt x="148387" y="231171"/>
                </a:cubicBezTo>
                <a:lnTo>
                  <a:pt x="148387" y="254210"/>
                </a:lnTo>
                <a:close/>
                <a:moveTo>
                  <a:pt x="156197" y="233124"/>
                </a:moveTo>
                <a:cubicBezTo>
                  <a:pt x="161273" y="234295"/>
                  <a:pt x="166349" y="235076"/>
                  <a:pt x="171816" y="235857"/>
                </a:cubicBezTo>
                <a:lnTo>
                  <a:pt x="171816" y="259286"/>
                </a:lnTo>
                <a:cubicBezTo>
                  <a:pt x="166349" y="258506"/>
                  <a:pt x="160883" y="257334"/>
                  <a:pt x="156197" y="256553"/>
                </a:cubicBezTo>
                <a:lnTo>
                  <a:pt x="156197" y="233124"/>
                </a:lnTo>
                <a:close/>
                <a:moveTo>
                  <a:pt x="179626" y="236638"/>
                </a:moveTo>
                <a:cubicBezTo>
                  <a:pt x="184703" y="237028"/>
                  <a:pt x="190169" y="237809"/>
                  <a:pt x="195246" y="237809"/>
                </a:cubicBezTo>
                <a:lnTo>
                  <a:pt x="195246" y="261239"/>
                </a:lnTo>
                <a:cubicBezTo>
                  <a:pt x="189779" y="260848"/>
                  <a:pt x="184703" y="260458"/>
                  <a:pt x="179626" y="260067"/>
                </a:cubicBezTo>
                <a:lnTo>
                  <a:pt x="179626" y="236638"/>
                </a:lnTo>
                <a:close/>
                <a:moveTo>
                  <a:pt x="85908" y="148777"/>
                </a:moveTo>
                <a:lnTo>
                  <a:pt x="85908" y="149949"/>
                </a:lnTo>
                <a:cubicBezTo>
                  <a:pt x="80441" y="149168"/>
                  <a:pt x="74974" y="147996"/>
                  <a:pt x="70289" y="147215"/>
                </a:cubicBezTo>
                <a:lnTo>
                  <a:pt x="70289" y="124176"/>
                </a:lnTo>
                <a:cubicBezTo>
                  <a:pt x="75365" y="125348"/>
                  <a:pt x="80441" y="126129"/>
                  <a:pt x="85908" y="126910"/>
                </a:cubicBezTo>
                <a:lnTo>
                  <a:pt x="85908" y="148777"/>
                </a:lnTo>
                <a:close/>
                <a:moveTo>
                  <a:pt x="93718" y="180017"/>
                </a:moveTo>
                <a:lnTo>
                  <a:pt x="93718" y="164397"/>
                </a:lnTo>
                <a:cubicBezTo>
                  <a:pt x="97232" y="167521"/>
                  <a:pt x="101137" y="170254"/>
                  <a:pt x="105433" y="172207"/>
                </a:cubicBezTo>
                <a:lnTo>
                  <a:pt x="105433" y="194465"/>
                </a:lnTo>
                <a:cubicBezTo>
                  <a:pt x="98013" y="189388"/>
                  <a:pt x="93718" y="184703"/>
                  <a:pt x="93718" y="180017"/>
                </a:cubicBezTo>
                <a:lnTo>
                  <a:pt x="93718" y="180017"/>
                </a:lnTo>
                <a:close/>
                <a:moveTo>
                  <a:pt x="288964" y="180017"/>
                </a:moveTo>
                <a:cubicBezTo>
                  <a:pt x="288964" y="184703"/>
                  <a:pt x="284668" y="189779"/>
                  <a:pt x="277249" y="194074"/>
                </a:cubicBezTo>
                <a:lnTo>
                  <a:pt x="277249" y="171816"/>
                </a:lnTo>
                <a:cubicBezTo>
                  <a:pt x="281545" y="169864"/>
                  <a:pt x="285449" y="167130"/>
                  <a:pt x="288964" y="164007"/>
                </a:cubicBezTo>
                <a:lnTo>
                  <a:pt x="288964" y="180017"/>
                </a:lnTo>
                <a:close/>
                <a:moveTo>
                  <a:pt x="269439" y="197979"/>
                </a:moveTo>
                <a:cubicBezTo>
                  <a:pt x="264363" y="200322"/>
                  <a:pt x="259286" y="201884"/>
                  <a:pt x="253820" y="203446"/>
                </a:cubicBezTo>
                <a:lnTo>
                  <a:pt x="253820" y="180407"/>
                </a:lnTo>
                <a:cubicBezTo>
                  <a:pt x="259286" y="179236"/>
                  <a:pt x="264363" y="177283"/>
                  <a:pt x="269439" y="175331"/>
                </a:cubicBezTo>
                <a:lnTo>
                  <a:pt x="269439" y="197979"/>
                </a:lnTo>
                <a:close/>
                <a:moveTo>
                  <a:pt x="246010" y="205399"/>
                </a:moveTo>
                <a:cubicBezTo>
                  <a:pt x="241324" y="206570"/>
                  <a:pt x="235857" y="207351"/>
                  <a:pt x="230390" y="208132"/>
                </a:cubicBezTo>
                <a:lnTo>
                  <a:pt x="230390" y="184703"/>
                </a:lnTo>
                <a:cubicBezTo>
                  <a:pt x="235857" y="183922"/>
                  <a:pt x="240933" y="183141"/>
                  <a:pt x="246010" y="181969"/>
                </a:cubicBezTo>
                <a:lnTo>
                  <a:pt x="246010" y="205399"/>
                </a:lnTo>
                <a:close/>
                <a:moveTo>
                  <a:pt x="222580" y="209304"/>
                </a:moveTo>
                <a:cubicBezTo>
                  <a:pt x="217504" y="209694"/>
                  <a:pt x="212427" y="210475"/>
                  <a:pt x="206961" y="210475"/>
                </a:cubicBezTo>
                <a:lnTo>
                  <a:pt x="206961" y="187046"/>
                </a:lnTo>
                <a:cubicBezTo>
                  <a:pt x="212037" y="186655"/>
                  <a:pt x="217504" y="186265"/>
                  <a:pt x="222580" y="185874"/>
                </a:cubicBezTo>
                <a:lnTo>
                  <a:pt x="222580" y="209304"/>
                </a:lnTo>
                <a:close/>
                <a:moveTo>
                  <a:pt x="199151" y="210866"/>
                </a:moveTo>
                <a:cubicBezTo>
                  <a:pt x="196417" y="210866"/>
                  <a:pt x="194074" y="210866"/>
                  <a:pt x="191341" y="210866"/>
                </a:cubicBezTo>
                <a:cubicBezTo>
                  <a:pt x="188607" y="210866"/>
                  <a:pt x="186265" y="210866"/>
                  <a:pt x="183531" y="210866"/>
                </a:cubicBezTo>
                <a:lnTo>
                  <a:pt x="183531" y="187436"/>
                </a:lnTo>
                <a:cubicBezTo>
                  <a:pt x="186265" y="187436"/>
                  <a:pt x="188607" y="187436"/>
                  <a:pt x="191341" y="187436"/>
                </a:cubicBezTo>
                <a:cubicBezTo>
                  <a:pt x="194074" y="187436"/>
                  <a:pt x="196417" y="187436"/>
                  <a:pt x="199151" y="187436"/>
                </a:cubicBezTo>
                <a:lnTo>
                  <a:pt x="199151" y="210866"/>
                </a:lnTo>
                <a:close/>
                <a:moveTo>
                  <a:pt x="175721" y="210866"/>
                </a:moveTo>
                <a:cubicBezTo>
                  <a:pt x="170254" y="210475"/>
                  <a:pt x="165178" y="210085"/>
                  <a:pt x="160102" y="209694"/>
                </a:cubicBezTo>
                <a:lnTo>
                  <a:pt x="160102" y="186265"/>
                </a:lnTo>
                <a:cubicBezTo>
                  <a:pt x="165178" y="186655"/>
                  <a:pt x="170645" y="187436"/>
                  <a:pt x="175721" y="187436"/>
                </a:cubicBezTo>
                <a:lnTo>
                  <a:pt x="175721" y="210866"/>
                </a:lnTo>
                <a:close/>
                <a:moveTo>
                  <a:pt x="152292" y="208523"/>
                </a:moveTo>
                <a:cubicBezTo>
                  <a:pt x="146825" y="207742"/>
                  <a:pt x="141358" y="206570"/>
                  <a:pt x="136672" y="205789"/>
                </a:cubicBezTo>
                <a:lnTo>
                  <a:pt x="136672" y="182750"/>
                </a:lnTo>
                <a:cubicBezTo>
                  <a:pt x="141748" y="183922"/>
                  <a:pt x="146825" y="184703"/>
                  <a:pt x="152292" y="185484"/>
                </a:cubicBezTo>
                <a:lnTo>
                  <a:pt x="152292" y="208523"/>
                </a:lnTo>
                <a:close/>
                <a:moveTo>
                  <a:pt x="128862" y="203446"/>
                </a:moveTo>
                <a:cubicBezTo>
                  <a:pt x="123395" y="201884"/>
                  <a:pt x="118319" y="200322"/>
                  <a:pt x="113243" y="197979"/>
                </a:cubicBezTo>
                <a:lnTo>
                  <a:pt x="113243" y="175331"/>
                </a:lnTo>
                <a:cubicBezTo>
                  <a:pt x="118319" y="177283"/>
                  <a:pt x="123395" y="178845"/>
                  <a:pt x="128862" y="180407"/>
                </a:cubicBezTo>
                <a:lnTo>
                  <a:pt x="128862" y="203446"/>
                </a:lnTo>
                <a:close/>
                <a:moveTo>
                  <a:pt x="288964" y="148777"/>
                </a:moveTo>
                <a:cubicBezTo>
                  <a:pt x="288964" y="163616"/>
                  <a:pt x="248743" y="180017"/>
                  <a:pt x="191341" y="180017"/>
                </a:cubicBezTo>
                <a:cubicBezTo>
                  <a:pt x="133939" y="180017"/>
                  <a:pt x="93718" y="163616"/>
                  <a:pt x="93718" y="148777"/>
                </a:cubicBezTo>
                <a:cubicBezTo>
                  <a:pt x="93718" y="133939"/>
                  <a:pt x="133939" y="117538"/>
                  <a:pt x="191341" y="117538"/>
                </a:cubicBezTo>
                <a:cubicBezTo>
                  <a:pt x="248743" y="117538"/>
                  <a:pt x="288964" y="133939"/>
                  <a:pt x="288964" y="148777"/>
                </a:cubicBezTo>
                <a:close/>
                <a:moveTo>
                  <a:pt x="93718" y="133158"/>
                </a:moveTo>
                <a:lnTo>
                  <a:pt x="93718" y="127300"/>
                </a:lnTo>
                <a:cubicBezTo>
                  <a:pt x="96061" y="127691"/>
                  <a:pt x="98404" y="127691"/>
                  <a:pt x="100747" y="128081"/>
                </a:cubicBezTo>
                <a:cubicBezTo>
                  <a:pt x="98404" y="129643"/>
                  <a:pt x="96061" y="131205"/>
                  <a:pt x="93718" y="133158"/>
                </a:cubicBezTo>
                <a:close/>
                <a:moveTo>
                  <a:pt x="215942" y="110509"/>
                </a:moveTo>
                <a:cubicBezTo>
                  <a:pt x="218285" y="108947"/>
                  <a:pt x="220628" y="107385"/>
                  <a:pt x="222971" y="105433"/>
                </a:cubicBezTo>
                <a:lnTo>
                  <a:pt x="222971" y="111290"/>
                </a:lnTo>
                <a:cubicBezTo>
                  <a:pt x="220237" y="110900"/>
                  <a:pt x="218285" y="110900"/>
                  <a:pt x="215942" y="110509"/>
                </a:cubicBezTo>
                <a:close/>
                <a:moveTo>
                  <a:pt x="210085" y="75365"/>
                </a:moveTo>
                <a:cubicBezTo>
                  <a:pt x="218285" y="80051"/>
                  <a:pt x="222580" y="85127"/>
                  <a:pt x="222580" y="89813"/>
                </a:cubicBezTo>
                <a:cubicBezTo>
                  <a:pt x="222580" y="96451"/>
                  <a:pt x="213989" y="103871"/>
                  <a:pt x="199541" y="109338"/>
                </a:cubicBezTo>
                <a:cubicBezTo>
                  <a:pt x="196808" y="109338"/>
                  <a:pt x="194074" y="109338"/>
                  <a:pt x="191341" y="109338"/>
                </a:cubicBezTo>
                <a:cubicBezTo>
                  <a:pt x="164007" y="109338"/>
                  <a:pt x="135501" y="113243"/>
                  <a:pt x="115195" y="121052"/>
                </a:cubicBezTo>
                <a:cubicBezTo>
                  <a:pt x="74193" y="119881"/>
                  <a:pt x="43735" y="110119"/>
                  <a:pt x="32411" y="99185"/>
                </a:cubicBezTo>
                <a:cubicBezTo>
                  <a:pt x="32411" y="99185"/>
                  <a:pt x="32411" y="99185"/>
                  <a:pt x="32411" y="99185"/>
                </a:cubicBezTo>
                <a:cubicBezTo>
                  <a:pt x="56231" y="106604"/>
                  <a:pt x="80832" y="110119"/>
                  <a:pt x="105433" y="109728"/>
                </a:cubicBezTo>
                <a:cubicBezTo>
                  <a:pt x="153073" y="109728"/>
                  <a:pt x="203837" y="97623"/>
                  <a:pt x="210085" y="75365"/>
                </a:cubicBezTo>
                <a:close/>
                <a:moveTo>
                  <a:pt x="62479" y="121833"/>
                </a:moveTo>
                <a:lnTo>
                  <a:pt x="62479" y="144872"/>
                </a:lnTo>
                <a:cubicBezTo>
                  <a:pt x="57012" y="143310"/>
                  <a:pt x="51935" y="141748"/>
                  <a:pt x="46859" y="139406"/>
                </a:cubicBezTo>
                <a:lnTo>
                  <a:pt x="46859" y="116757"/>
                </a:lnTo>
                <a:cubicBezTo>
                  <a:pt x="51935" y="118709"/>
                  <a:pt x="57402" y="120662"/>
                  <a:pt x="62479" y="121833"/>
                </a:cubicBezTo>
                <a:close/>
                <a:moveTo>
                  <a:pt x="39049" y="113243"/>
                </a:moveTo>
                <a:lnTo>
                  <a:pt x="39049" y="135501"/>
                </a:lnTo>
                <a:cubicBezTo>
                  <a:pt x="31630" y="130815"/>
                  <a:pt x="27334" y="126129"/>
                  <a:pt x="27334" y="121443"/>
                </a:cubicBezTo>
                <a:lnTo>
                  <a:pt x="27334" y="105823"/>
                </a:lnTo>
                <a:cubicBezTo>
                  <a:pt x="30849" y="108557"/>
                  <a:pt x="34754" y="111290"/>
                  <a:pt x="39049" y="113243"/>
                </a:cubicBezTo>
                <a:close/>
                <a:moveTo>
                  <a:pt x="27334" y="88642"/>
                </a:moveTo>
                <a:lnTo>
                  <a:pt x="27334" y="65993"/>
                </a:lnTo>
                <a:cubicBezTo>
                  <a:pt x="32411" y="67946"/>
                  <a:pt x="37487" y="69508"/>
                  <a:pt x="42954" y="71069"/>
                </a:cubicBezTo>
                <a:lnTo>
                  <a:pt x="42954" y="94108"/>
                </a:lnTo>
                <a:cubicBezTo>
                  <a:pt x="37878" y="92547"/>
                  <a:pt x="32411" y="90985"/>
                  <a:pt x="27334" y="88642"/>
                </a:cubicBezTo>
                <a:close/>
                <a:moveTo>
                  <a:pt x="50764" y="96061"/>
                </a:moveTo>
                <a:lnTo>
                  <a:pt x="50764" y="73022"/>
                </a:lnTo>
                <a:cubicBezTo>
                  <a:pt x="55840" y="74193"/>
                  <a:pt x="60917" y="74974"/>
                  <a:pt x="66384" y="75755"/>
                </a:cubicBezTo>
                <a:lnTo>
                  <a:pt x="66384" y="99185"/>
                </a:lnTo>
                <a:cubicBezTo>
                  <a:pt x="60917" y="98404"/>
                  <a:pt x="55840" y="97232"/>
                  <a:pt x="50764" y="96061"/>
                </a:cubicBezTo>
                <a:close/>
                <a:moveTo>
                  <a:pt x="74193" y="99966"/>
                </a:moveTo>
                <a:lnTo>
                  <a:pt x="74193" y="76536"/>
                </a:lnTo>
                <a:cubicBezTo>
                  <a:pt x="79270" y="76927"/>
                  <a:pt x="84737" y="77708"/>
                  <a:pt x="89813" y="77708"/>
                </a:cubicBezTo>
                <a:lnTo>
                  <a:pt x="89813" y="101137"/>
                </a:lnTo>
                <a:cubicBezTo>
                  <a:pt x="84346" y="101137"/>
                  <a:pt x="79270" y="100747"/>
                  <a:pt x="74193" y="99966"/>
                </a:cubicBezTo>
                <a:close/>
                <a:moveTo>
                  <a:pt x="97623" y="101528"/>
                </a:moveTo>
                <a:lnTo>
                  <a:pt x="97623" y="78098"/>
                </a:lnTo>
                <a:cubicBezTo>
                  <a:pt x="100356" y="78098"/>
                  <a:pt x="102699" y="78098"/>
                  <a:pt x="105433" y="78098"/>
                </a:cubicBezTo>
                <a:cubicBezTo>
                  <a:pt x="108166" y="78098"/>
                  <a:pt x="110509" y="78098"/>
                  <a:pt x="113243" y="78098"/>
                </a:cubicBezTo>
                <a:lnTo>
                  <a:pt x="113243" y="101528"/>
                </a:lnTo>
                <a:cubicBezTo>
                  <a:pt x="110509" y="101528"/>
                  <a:pt x="108166" y="101528"/>
                  <a:pt x="105433" y="101528"/>
                </a:cubicBezTo>
                <a:cubicBezTo>
                  <a:pt x="102699" y="101528"/>
                  <a:pt x="100356" y="101918"/>
                  <a:pt x="97623" y="101528"/>
                </a:cubicBezTo>
                <a:close/>
                <a:moveTo>
                  <a:pt x="121052" y="101528"/>
                </a:moveTo>
                <a:lnTo>
                  <a:pt x="121052" y="78098"/>
                </a:lnTo>
                <a:cubicBezTo>
                  <a:pt x="126129" y="77708"/>
                  <a:pt x="131596" y="77317"/>
                  <a:pt x="136672" y="76927"/>
                </a:cubicBezTo>
                <a:lnTo>
                  <a:pt x="136672" y="100356"/>
                </a:lnTo>
                <a:cubicBezTo>
                  <a:pt x="131596" y="100747"/>
                  <a:pt x="126519" y="101137"/>
                  <a:pt x="121052" y="101528"/>
                </a:cubicBezTo>
                <a:close/>
                <a:moveTo>
                  <a:pt x="144482" y="99185"/>
                </a:moveTo>
                <a:lnTo>
                  <a:pt x="144482" y="75755"/>
                </a:lnTo>
                <a:cubicBezTo>
                  <a:pt x="149949" y="74974"/>
                  <a:pt x="155025" y="74193"/>
                  <a:pt x="160102" y="73022"/>
                </a:cubicBezTo>
                <a:lnTo>
                  <a:pt x="160102" y="96061"/>
                </a:lnTo>
                <a:cubicBezTo>
                  <a:pt x="155416" y="97232"/>
                  <a:pt x="149949" y="98404"/>
                  <a:pt x="144482" y="99185"/>
                </a:cubicBezTo>
                <a:close/>
                <a:moveTo>
                  <a:pt x="167911" y="94108"/>
                </a:moveTo>
                <a:lnTo>
                  <a:pt x="167911" y="71069"/>
                </a:lnTo>
                <a:cubicBezTo>
                  <a:pt x="173378" y="69898"/>
                  <a:pt x="178455" y="67946"/>
                  <a:pt x="183531" y="65993"/>
                </a:cubicBezTo>
                <a:lnTo>
                  <a:pt x="183531" y="88642"/>
                </a:lnTo>
                <a:cubicBezTo>
                  <a:pt x="178455" y="90985"/>
                  <a:pt x="173378" y="92547"/>
                  <a:pt x="167911" y="94108"/>
                </a:cubicBezTo>
                <a:close/>
                <a:moveTo>
                  <a:pt x="191341" y="84737"/>
                </a:moveTo>
                <a:lnTo>
                  <a:pt x="191341" y="62479"/>
                </a:lnTo>
                <a:cubicBezTo>
                  <a:pt x="195636" y="60526"/>
                  <a:pt x="199541" y="57793"/>
                  <a:pt x="203056" y="54669"/>
                </a:cubicBezTo>
                <a:lnTo>
                  <a:pt x="203056" y="70289"/>
                </a:lnTo>
                <a:cubicBezTo>
                  <a:pt x="203056" y="75365"/>
                  <a:pt x="199151" y="80051"/>
                  <a:pt x="191341" y="84737"/>
                </a:cubicBezTo>
                <a:close/>
                <a:moveTo>
                  <a:pt x="19525" y="84737"/>
                </a:moveTo>
                <a:cubicBezTo>
                  <a:pt x="12105" y="80051"/>
                  <a:pt x="7810" y="75365"/>
                  <a:pt x="7810" y="70679"/>
                </a:cubicBezTo>
                <a:lnTo>
                  <a:pt x="7810" y="55059"/>
                </a:lnTo>
                <a:cubicBezTo>
                  <a:pt x="11324" y="58183"/>
                  <a:pt x="15229" y="60917"/>
                  <a:pt x="19525" y="62869"/>
                </a:cubicBezTo>
                <a:lnTo>
                  <a:pt x="19525" y="84737"/>
                </a:lnTo>
                <a:close/>
                <a:moveTo>
                  <a:pt x="7810" y="39440"/>
                </a:moveTo>
                <a:cubicBezTo>
                  <a:pt x="7810" y="24601"/>
                  <a:pt x="48030" y="8200"/>
                  <a:pt x="105433" y="8200"/>
                </a:cubicBezTo>
                <a:cubicBezTo>
                  <a:pt x="162835" y="8200"/>
                  <a:pt x="203056" y="24601"/>
                  <a:pt x="203056" y="39440"/>
                </a:cubicBezTo>
                <a:cubicBezTo>
                  <a:pt x="203056" y="54278"/>
                  <a:pt x="162835" y="70679"/>
                  <a:pt x="105433" y="70679"/>
                </a:cubicBezTo>
                <a:cubicBezTo>
                  <a:pt x="48030" y="70679"/>
                  <a:pt x="7810" y="53888"/>
                  <a:pt x="7810" y="39440"/>
                </a:cubicBezTo>
                <a:close/>
                <a:moveTo>
                  <a:pt x="21477" y="129253"/>
                </a:moveTo>
                <a:cubicBezTo>
                  <a:pt x="28506" y="143701"/>
                  <a:pt x="55059" y="153073"/>
                  <a:pt x="85908" y="157368"/>
                </a:cubicBezTo>
                <a:lnTo>
                  <a:pt x="85908" y="174940"/>
                </a:lnTo>
                <a:cubicBezTo>
                  <a:pt x="39049" y="171816"/>
                  <a:pt x="7810" y="157368"/>
                  <a:pt x="7810" y="144482"/>
                </a:cubicBezTo>
                <a:cubicBezTo>
                  <a:pt x="7810" y="139406"/>
                  <a:pt x="12886" y="134329"/>
                  <a:pt x="21477" y="129253"/>
                </a:cubicBezTo>
                <a:close/>
                <a:moveTo>
                  <a:pt x="19525" y="190169"/>
                </a:moveTo>
                <a:cubicBezTo>
                  <a:pt x="12105" y="185484"/>
                  <a:pt x="7810" y="180798"/>
                  <a:pt x="7810" y="176112"/>
                </a:cubicBezTo>
                <a:lnTo>
                  <a:pt x="7810" y="160492"/>
                </a:lnTo>
                <a:cubicBezTo>
                  <a:pt x="11324" y="163616"/>
                  <a:pt x="15229" y="166349"/>
                  <a:pt x="19525" y="168302"/>
                </a:cubicBezTo>
                <a:lnTo>
                  <a:pt x="19525" y="190169"/>
                </a:lnTo>
                <a:close/>
                <a:moveTo>
                  <a:pt x="42954" y="199541"/>
                </a:moveTo>
                <a:cubicBezTo>
                  <a:pt x="37487" y="197979"/>
                  <a:pt x="32411" y="196417"/>
                  <a:pt x="27334" y="194074"/>
                </a:cubicBezTo>
                <a:lnTo>
                  <a:pt x="27334" y="171426"/>
                </a:lnTo>
                <a:cubicBezTo>
                  <a:pt x="32411" y="173378"/>
                  <a:pt x="37487" y="174940"/>
                  <a:pt x="42954" y="176502"/>
                </a:cubicBezTo>
                <a:lnTo>
                  <a:pt x="42954" y="199541"/>
                </a:lnTo>
                <a:close/>
                <a:moveTo>
                  <a:pt x="66384" y="204618"/>
                </a:moveTo>
                <a:cubicBezTo>
                  <a:pt x="60917" y="203837"/>
                  <a:pt x="55450" y="202665"/>
                  <a:pt x="50764" y="201884"/>
                </a:cubicBezTo>
                <a:lnTo>
                  <a:pt x="50764" y="178845"/>
                </a:lnTo>
                <a:cubicBezTo>
                  <a:pt x="55840" y="180017"/>
                  <a:pt x="60917" y="180798"/>
                  <a:pt x="66384" y="181579"/>
                </a:cubicBezTo>
                <a:lnTo>
                  <a:pt x="66384" y="204618"/>
                </a:lnTo>
                <a:close/>
                <a:moveTo>
                  <a:pt x="74193" y="181969"/>
                </a:moveTo>
                <a:cubicBezTo>
                  <a:pt x="78098" y="182360"/>
                  <a:pt x="82003" y="182750"/>
                  <a:pt x="86299" y="183141"/>
                </a:cubicBezTo>
                <a:cubicBezTo>
                  <a:pt x="86689" y="185874"/>
                  <a:pt x="88251" y="188607"/>
                  <a:pt x="89813" y="191341"/>
                </a:cubicBezTo>
                <a:lnTo>
                  <a:pt x="89813" y="206961"/>
                </a:lnTo>
                <a:cubicBezTo>
                  <a:pt x="84346" y="206570"/>
                  <a:pt x="79270" y="206180"/>
                  <a:pt x="74193" y="205789"/>
                </a:cubicBezTo>
                <a:lnTo>
                  <a:pt x="74193" y="181969"/>
                </a:lnTo>
                <a:close/>
                <a:moveTo>
                  <a:pt x="97623" y="198370"/>
                </a:moveTo>
                <a:cubicBezTo>
                  <a:pt x="99966" y="199932"/>
                  <a:pt x="102699" y="201494"/>
                  <a:pt x="105433" y="203056"/>
                </a:cubicBezTo>
                <a:lnTo>
                  <a:pt x="105433" y="206961"/>
                </a:lnTo>
                <a:cubicBezTo>
                  <a:pt x="102699" y="206961"/>
                  <a:pt x="100356" y="206961"/>
                  <a:pt x="97623" y="206961"/>
                </a:cubicBezTo>
                <a:lnTo>
                  <a:pt x="97623" y="198370"/>
                </a:lnTo>
                <a:close/>
                <a:moveTo>
                  <a:pt x="113243" y="230781"/>
                </a:moveTo>
                <a:lnTo>
                  <a:pt x="113243" y="215161"/>
                </a:lnTo>
                <a:cubicBezTo>
                  <a:pt x="116757" y="218285"/>
                  <a:pt x="120662" y="221018"/>
                  <a:pt x="124957" y="222971"/>
                </a:cubicBezTo>
                <a:lnTo>
                  <a:pt x="124957" y="245229"/>
                </a:lnTo>
                <a:cubicBezTo>
                  <a:pt x="117538" y="240152"/>
                  <a:pt x="113243" y="235466"/>
                  <a:pt x="113243" y="230781"/>
                </a:cubicBezTo>
                <a:lnTo>
                  <a:pt x="113243" y="230781"/>
                </a:lnTo>
                <a:close/>
                <a:moveTo>
                  <a:pt x="203056" y="238200"/>
                </a:moveTo>
                <a:cubicBezTo>
                  <a:pt x="205789" y="238200"/>
                  <a:pt x="208132" y="238200"/>
                  <a:pt x="210866" y="238200"/>
                </a:cubicBezTo>
                <a:cubicBezTo>
                  <a:pt x="213599" y="238200"/>
                  <a:pt x="215942" y="238200"/>
                  <a:pt x="218675" y="238200"/>
                </a:cubicBezTo>
                <a:lnTo>
                  <a:pt x="218675" y="261629"/>
                </a:lnTo>
                <a:cubicBezTo>
                  <a:pt x="215942" y="261629"/>
                  <a:pt x="213599" y="261629"/>
                  <a:pt x="210866" y="261629"/>
                </a:cubicBezTo>
                <a:cubicBezTo>
                  <a:pt x="208132" y="261629"/>
                  <a:pt x="205789" y="261629"/>
                  <a:pt x="203056" y="261629"/>
                </a:cubicBezTo>
                <a:lnTo>
                  <a:pt x="203056" y="238200"/>
                </a:lnTo>
                <a:close/>
                <a:moveTo>
                  <a:pt x="296774" y="222580"/>
                </a:moveTo>
                <a:cubicBezTo>
                  <a:pt x="301069" y="220628"/>
                  <a:pt x="304974" y="217894"/>
                  <a:pt x="308488" y="214770"/>
                </a:cubicBezTo>
                <a:lnTo>
                  <a:pt x="308488" y="230390"/>
                </a:lnTo>
                <a:cubicBezTo>
                  <a:pt x="308488" y="235076"/>
                  <a:pt x="304193" y="240152"/>
                  <a:pt x="296774" y="244448"/>
                </a:cubicBezTo>
                <a:lnTo>
                  <a:pt x="296774" y="22258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80000">
                <a:schemeClr val="accent5"/>
              </a:gs>
            </a:gsLst>
            <a:lin ang="0" scaled="0"/>
          </a:gradFill>
          <a:ln w="387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9FE8B2DF-0924-0E5A-490F-A5F4002A7A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45849" y="2115234"/>
            <a:ext cx="738360" cy="583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SkyNRG – Sustainable Aviation Fuel">
            <a:extLst>
              <a:ext uri="{FF2B5EF4-FFF2-40B4-BE49-F238E27FC236}">
                <a16:creationId xmlns:a16="http://schemas.microsoft.com/office/drawing/2014/main" id="{3E9C432D-8AAF-AE51-94AF-98002C260E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59027" y="4637712"/>
            <a:ext cx="929940" cy="311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Sustainable Aviation Futures North America">
            <a:extLst>
              <a:ext uri="{FF2B5EF4-FFF2-40B4-BE49-F238E27FC236}">
                <a16:creationId xmlns:a16="http://schemas.microsoft.com/office/drawing/2014/main" id="{0BEDFC73-C396-3E95-9366-262439F3EA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49294" y="5452983"/>
            <a:ext cx="988751" cy="254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>
            <a:extLst>
              <a:ext uri="{FF2B5EF4-FFF2-40B4-BE49-F238E27FC236}">
                <a16:creationId xmlns:a16="http://schemas.microsoft.com/office/drawing/2014/main" id="{7A62E011-2646-B109-1B49-5F239EC4B8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34666" y="2207878"/>
            <a:ext cx="607695" cy="43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>
            <a:extLst>
              <a:ext uri="{FF2B5EF4-FFF2-40B4-BE49-F238E27FC236}">
                <a16:creationId xmlns:a16="http://schemas.microsoft.com/office/drawing/2014/main" id="{93F73C3C-34A9-F71C-3429-EFBAEF8E67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507" y="2220863"/>
            <a:ext cx="588301" cy="250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Holcim Group Logo PNG vector in SVG, PDF, AI, CDR format">
            <a:extLst>
              <a:ext uri="{FF2B5EF4-FFF2-40B4-BE49-F238E27FC236}">
                <a16:creationId xmlns:a16="http://schemas.microsoft.com/office/drawing/2014/main" id="{17A232C6-44C2-D55D-1BAA-2827D2E299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28206" y="2244128"/>
            <a:ext cx="908804" cy="269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IFP Energies nouvelles, Transition énergétique et mobilité durable - IFPEN">
            <a:extLst>
              <a:ext uri="{FF2B5EF4-FFF2-40B4-BE49-F238E27FC236}">
                <a16:creationId xmlns:a16="http://schemas.microsoft.com/office/drawing/2014/main" id="{9324D12C-ADE0-C725-B32D-782347CB91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34014" y="2650214"/>
            <a:ext cx="755374" cy="323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>
            <a:extLst>
              <a:ext uri="{FF2B5EF4-FFF2-40B4-BE49-F238E27FC236}">
                <a16:creationId xmlns:a16="http://schemas.microsoft.com/office/drawing/2014/main" id="{5E0DD5DB-6839-5265-D0DC-3F02C98B93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34427" y="2567352"/>
            <a:ext cx="949142" cy="496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0" name="Picture 18">
            <a:extLst>
              <a:ext uri="{FF2B5EF4-FFF2-40B4-BE49-F238E27FC236}">
                <a16:creationId xmlns:a16="http://schemas.microsoft.com/office/drawing/2014/main" id="{93D6BA63-DB9A-48C3-F986-42C4FDCE85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52662" y="4541001"/>
            <a:ext cx="746357" cy="447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2" name="Picture 20">
            <a:extLst>
              <a:ext uri="{FF2B5EF4-FFF2-40B4-BE49-F238E27FC236}">
                <a16:creationId xmlns:a16="http://schemas.microsoft.com/office/drawing/2014/main" id="{4E6FB8ED-F676-FA3D-4DEC-4DEA809DC3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68488" y="4681568"/>
            <a:ext cx="548006" cy="198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4" name="Picture 22" descr="CMA CGM — Wikipédia">
            <a:extLst>
              <a:ext uri="{FF2B5EF4-FFF2-40B4-BE49-F238E27FC236}">
                <a16:creationId xmlns:a16="http://schemas.microsoft.com/office/drawing/2014/main" id="{8CB87497-95D1-C7F6-E87D-6C773239AC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58224" y="4668446"/>
            <a:ext cx="363754" cy="221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23635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B721ACD-8CDD-9242-3252-331AADAFC0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34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6" progId="TCLayout.ActiveDocument.1">
                  <p:embed/>
                </p:oleObj>
              </mc:Choice>
              <mc:Fallback>
                <p:oleObj name="Diapositive think-cell" r:id="rId3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721ACD-8CDD-9242-3252-331AADAFC0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 8" descr="Une image contenant avion, plein air, ciel, avion de ligne&#10;&#10;Description générée automatiquement">
            <a:extLst>
              <a:ext uri="{FF2B5EF4-FFF2-40B4-BE49-F238E27FC236}">
                <a16:creationId xmlns:a16="http://schemas.microsoft.com/office/drawing/2014/main" id="{247D4CB7-E3CA-77FA-9707-E3BEC5F8DF9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504" y="2077730"/>
            <a:ext cx="5040000" cy="2359772"/>
          </a:xfrm>
          <a:prstGeom prst="rect">
            <a:avLst/>
          </a:prstGeom>
        </p:spPr>
      </p:pic>
      <p:pic>
        <p:nvPicPr>
          <p:cNvPr id="2" name="Image 1" descr="Une image contenant intérieur, Cabine d’avion, avion, plafond&#10;&#10;Description générée automatiquement">
            <a:extLst>
              <a:ext uri="{FF2B5EF4-FFF2-40B4-BE49-F238E27FC236}">
                <a16:creationId xmlns:a16="http://schemas.microsoft.com/office/drawing/2014/main" id="{7000D8D6-CFD9-20A9-6B5C-FF2DAA49C31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62660" y="2077730"/>
            <a:ext cx="5061764" cy="2022512"/>
          </a:xfrm>
          <a:prstGeom prst="rect">
            <a:avLst/>
          </a:prstGeom>
        </p:spPr>
      </p:pic>
      <p:sp>
        <p:nvSpPr>
          <p:cNvPr id="10" name="Titre 9">
            <a:extLst>
              <a:ext uri="{FF2B5EF4-FFF2-40B4-BE49-F238E27FC236}">
                <a16:creationId xmlns:a16="http://schemas.microsoft.com/office/drawing/2014/main" id="{23142DBD-4CE3-B4AE-CD7C-B2B6742492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8" y="749300"/>
            <a:ext cx="11533201" cy="715879"/>
          </a:xfrm>
        </p:spPr>
        <p:txBody>
          <a:bodyPr vert="horz">
            <a:noAutofit/>
          </a:bodyPr>
          <a:lstStyle/>
          <a:p>
            <a:r>
              <a:rPr lang="en-US" sz="2000" b="1" dirty="0">
                <a:latin typeface="+mn-lt"/>
              </a:rPr>
              <a:t>Greater efficiency in our operations and additional commercial measures can be leveraged to support our decarbonization trajectory</a:t>
            </a:r>
            <a:endParaRPr lang="fr-FR" sz="2000" b="1" dirty="0">
              <a:latin typeface="+mn-lt"/>
            </a:endParaRP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62320671-3E6D-CA46-6B49-22187EA5FFED}"/>
              </a:ext>
            </a:extLst>
          </p:cNvPr>
          <p:cNvGraphicFramePr>
            <a:graphicFrameLocks noGrp="1"/>
          </p:cNvGraphicFramePr>
          <p:nvPr/>
        </p:nvGraphicFramePr>
        <p:xfrm>
          <a:off x="686504" y="4100241"/>
          <a:ext cx="5040000" cy="216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000">
                  <a:extLst>
                    <a:ext uri="{9D8B030D-6E8A-4147-A177-3AD203B41FA5}">
                      <a16:colId xmlns:a16="http://schemas.microsoft.com/office/drawing/2014/main" val="3745714346"/>
                    </a:ext>
                  </a:extLst>
                </a:gridCol>
              </a:tblGrid>
              <a:tr h="576000"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>
                          <a:solidFill>
                            <a:schemeClr val="tx2"/>
                          </a:solidFill>
                        </a:rPr>
                        <a:t>OPERATIONAL</a:t>
                      </a:r>
                      <a:endParaRPr lang="en-GB" sz="18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8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8309722"/>
                  </a:ext>
                </a:extLst>
              </a:tr>
              <a:tr h="1584000">
                <a:tc>
                  <a:txBody>
                    <a:bodyPr/>
                    <a:lstStyle/>
                    <a:p>
                      <a:pPr marL="358775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</a:rPr>
                        <a:t>Eco-piloting &amp; </a:t>
                      </a:r>
                      <a:r>
                        <a:rPr lang="en-GB" sz="12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peed flying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  <a:p>
                      <a:pPr marL="358775" indent="-179388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</a:rPr>
                        <a:t>Aircraft performance improvement </a:t>
                      </a:r>
                      <a:r>
                        <a:rPr lang="en-GB" sz="1200" b="0">
                          <a:solidFill>
                            <a:schemeClr val="tx1"/>
                          </a:solidFill>
                        </a:rPr>
                        <a:t>(maintenance, </a:t>
                      </a:r>
                      <a:r>
                        <a:rPr lang="en-GB" sz="1200" b="0" i="0">
                          <a:solidFill>
                            <a:schemeClr val="tx1"/>
                          </a:solidFill>
                          <a:effectLst/>
                          <a:latin typeface="Montserrat" panose="00000500000000000000" pitchFamily="2" charset="0"/>
                        </a:rPr>
                        <a:t>engine wash, aircraft washing, reduce APU usage…)</a:t>
                      </a:r>
                      <a:endParaRPr lang="en-GB" sz="1200" b="0">
                        <a:solidFill>
                          <a:schemeClr val="tx1"/>
                        </a:solidFill>
                      </a:endParaRPr>
                    </a:p>
                    <a:p>
                      <a:pPr marL="358775" indent="-179388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</a:rPr>
                        <a:t>Weight reduction </a:t>
                      </a:r>
                      <a:r>
                        <a:rPr lang="en-GB" sz="1200">
                          <a:solidFill>
                            <a:schemeClr val="tx1"/>
                          </a:solidFill>
                        </a:rPr>
                        <a:t>(OEM suppliers, catering quantities, type of seat...)</a:t>
                      </a:r>
                    </a:p>
                  </a:txBody>
                  <a:tcPr marL="90000" marT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098155"/>
                  </a:ext>
                </a:extLst>
              </a:tr>
            </a:tbl>
          </a:graphicData>
        </a:graphic>
      </p:graphicFrame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AE4A74B2-3F2D-F4A8-85B3-BA68938F1B59}"/>
              </a:ext>
            </a:extLst>
          </p:cNvPr>
          <p:cNvGraphicFramePr>
            <a:graphicFrameLocks noGrp="1"/>
          </p:cNvGraphicFramePr>
          <p:nvPr/>
        </p:nvGraphicFramePr>
        <p:xfrm>
          <a:off x="6362659" y="4100241"/>
          <a:ext cx="5061765" cy="216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61765">
                  <a:extLst>
                    <a:ext uri="{9D8B030D-6E8A-4147-A177-3AD203B41FA5}">
                      <a16:colId xmlns:a16="http://schemas.microsoft.com/office/drawing/2014/main" val="3745714346"/>
                    </a:ext>
                  </a:extLst>
                </a:gridCol>
              </a:tblGrid>
              <a:tr h="576000"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>
                          <a:solidFill>
                            <a:schemeClr val="tx2"/>
                          </a:solidFill>
                        </a:rPr>
                        <a:t>COMMERCIAL</a:t>
                      </a:r>
                    </a:p>
                  </a:txBody>
                  <a:tcPr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8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8309722"/>
                  </a:ext>
                </a:extLst>
              </a:tr>
              <a:tr h="1584000">
                <a:tc>
                  <a:txBody>
                    <a:bodyPr/>
                    <a:lstStyle/>
                    <a:p>
                      <a:pPr marL="358775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1"/>
                        <a:t>Load factor </a:t>
                      </a:r>
                      <a:r>
                        <a:rPr lang="en-US" sz="1200" b="0"/>
                        <a:t>(potential network impact)</a:t>
                      </a:r>
                    </a:p>
                    <a:p>
                      <a:pPr marL="358775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1"/>
                        <a:t>Cabin layout optimization</a:t>
                      </a:r>
                    </a:p>
                    <a:p>
                      <a:pPr marL="358775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1"/>
                        <a:t>Product on board (IFE)</a:t>
                      </a:r>
                    </a:p>
                  </a:txBody>
                  <a:tcPr marL="90000" marT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098155"/>
                  </a:ext>
                </a:extLst>
              </a:tr>
            </a:tbl>
          </a:graphicData>
        </a:graphic>
      </p:graphicFrame>
      <p:sp>
        <p:nvSpPr>
          <p:cNvPr id="8" name="Espace réservé du texte 14">
            <a:extLst>
              <a:ext uri="{FF2B5EF4-FFF2-40B4-BE49-F238E27FC236}">
                <a16:creationId xmlns:a16="http://schemas.microsoft.com/office/drawing/2014/main" id="{AE79FE2B-C0EC-5A82-73B4-7726279469F4}"/>
              </a:ext>
            </a:extLst>
          </p:cNvPr>
          <p:cNvSpPr txBox="1">
            <a:spLocks/>
          </p:cNvSpPr>
          <p:nvPr/>
        </p:nvSpPr>
        <p:spPr>
          <a:xfrm>
            <a:off x="689939" y="1665434"/>
            <a:ext cx="10832380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>
            <a:lvl1pPr marL="0" indent="0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kumimoji="0" lang="en-GB" sz="1800" b="1" i="0" u="none" strike="noStrike" kern="1200" cap="none" spc="0" normalizeH="0" baseline="0" dirty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  <a:lvl2pPr marL="180975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5962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ain levers currently identified</a:t>
            </a:r>
          </a:p>
        </p:txBody>
      </p:sp>
    </p:spTree>
    <p:extLst>
      <p:ext uri="{BB962C8B-B14F-4D97-AF65-F5344CB8AC3E}">
        <p14:creationId xmlns:p14="http://schemas.microsoft.com/office/powerpoint/2010/main" val="19138829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62CAE6A-54A7-F927-8CA6-E9310172DB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99" y="749300"/>
            <a:ext cx="11313598" cy="673099"/>
          </a:xfrm>
        </p:spPr>
        <p:txBody>
          <a:bodyPr>
            <a:normAutofit/>
          </a:bodyPr>
          <a:lstStyle/>
          <a:p>
            <a:r>
              <a:rPr lang="fr-FR" b="1" dirty="0">
                <a:latin typeface="Montserrat (Body)"/>
              </a:rPr>
              <a:t>MAIN AWARDS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4A315656-AA01-5072-9DD9-0110E168049A}"/>
              </a:ext>
            </a:extLst>
          </p:cNvPr>
          <p:cNvGrpSpPr/>
          <p:nvPr/>
        </p:nvGrpSpPr>
        <p:grpSpPr>
          <a:xfrm>
            <a:off x="0" y="1700022"/>
            <a:ext cx="12191999" cy="3751687"/>
            <a:chOff x="0" y="1681447"/>
            <a:chExt cx="12191999" cy="375168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6A47532-0E7D-1588-6AD8-3A8ECABA041A}"/>
                </a:ext>
              </a:extLst>
            </p:cNvPr>
            <p:cNvSpPr/>
            <p:nvPr/>
          </p:nvSpPr>
          <p:spPr>
            <a:xfrm>
              <a:off x="0" y="1681447"/>
              <a:ext cx="12191999" cy="3751687"/>
            </a:xfrm>
            <a:prstGeom prst="rect">
              <a:avLst/>
            </a:prstGeom>
            <a:solidFill>
              <a:srgbClr val="F6F8F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3" name="Picture 4" descr="Logo Air France Screen">
              <a:extLst>
                <a:ext uri="{FF2B5EF4-FFF2-40B4-BE49-F238E27FC236}">
                  <a16:creationId xmlns:a16="http://schemas.microsoft.com/office/drawing/2014/main" id="{71186369-D6E5-25EB-E3F2-5E5B46F3842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1437" t="26798" r="11664" b="30589"/>
            <a:stretch/>
          </p:blipFill>
          <p:spPr bwMode="auto">
            <a:xfrm>
              <a:off x="1471641" y="4579922"/>
              <a:ext cx="1326096" cy="1922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6" descr="Logo KLM Screen">
              <a:extLst>
                <a:ext uri="{FF2B5EF4-FFF2-40B4-BE49-F238E27FC236}">
                  <a16:creationId xmlns:a16="http://schemas.microsoft.com/office/drawing/2014/main" id="{B7C1259C-6A7A-2A4C-D866-A04B8D08BF3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6077" t="16636" r="36031" b="16761"/>
            <a:stretch/>
          </p:blipFill>
          <p:spPr bwMode="auto">
            <a:xfrm>
              <a:off x="5860075" y="4496141"/>
              <a:ext cx="471847" cy="2947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5" descr="logo_flyingblue-RVB_couleur">
              <a:extLst>
                <a:ext uri="{FF2B5EF4-FFF2-40B4-BE49-F238E27FC236}">
                  <a16:creationId xmlns:a16="http://schemas.microsoft.com/office/drawing/2014/main" id="{399F7FD8-5F71-D15E-B8E3-BC63A70CF0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50888" y="4496141"/>
              <a:ext cx="1234605" cy="3456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" name="Image 5" descr="Une image contenant Police, Graphique, graphisme, logo&#10;&#10;Le contenu généré par l’IA peut être incorrect.">
            <a:extLst>
              <a:ext uri="{FF2B5EF4-FFF2-40B4-BE49-F238E27FC236}">
                <a16:creationId xmlns:a16="http://schemas.microsoft.com/office/drawing/2014/main" id="{D2682C2E-3C7B-7213-60A5-BB52139667F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7969" y="4553744"/>
            <a:ext cx="1326096" cy="306660"/>
          </a:xfrm>
          <a:prstGeom prst="rect">
            <a:avLst/>
          </a:prstGeom>
        </p:spPr>
      </p:pic>
      <p:pic>
        <p:nvPicPr>
          <p:cNvPr id="1026" name="Picture 2" descr="Prix et récompenses">
            <a:extLst>
              <a:ext uri="{FF2B5EF4-FFF2-40B4-BE49-F238E27FC236}">
                <a16:creationId xmlns:a16="http://schemas.microsoft.com/office/drawing/2014/main" id="{BA060C09-A2CC-5AA3-CEB7-6967C82060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7614" b="90846" l="25110" r="3987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093" t="12845" r="58452" b="9398"/>
          <a:stretch>
            <a:fillRect/>
          </a:stretch>
        </p:blipFill>
        <p:spPr bwMode="auto">
          <a:xfrm>
            <a:off x="1680298" y="2178805"/>
            <a:ext cx="2051528" cy="2160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KLM wins APEX World Class Award 2025">
            <a:extLst>
              <a:ext uri="{FF2B5EF4-FFF2-40B4-BE49-F238E27FC236}">
                <a16:creationId xmlns:a16="http://schemas.microsoft.com/office/drawing/2014/main" id="{2C63CECA-EA9D-72A1-9606-F213DAEFAB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9212" y="2406172"/>
            <a:ext cx="1933575" cy="1933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1DA5E5B6-F9C3-5076-C17A-965C77C2AB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12" t="426" r="13898" b="3072"/>
          <a:stretch>
            <a:fillRect/>
          </a:stretch>
        </p:blipFill>
        <p:spPr bwMode="auto">
          <a:xfrm>
            <a:off x="8635817" y="2595092"/>
            <a:ext cx="1506828" cy="1523008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03277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F99AFA36-18DC-76E6-4B81-18F5B235C7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+mn-lt"/>
              </a:rPr>
              <a:t>Our people build our future and our success</a:t>
            </a:r>
            <a:endParaRPr lang="fr-FR" b="1" dirty="0">
              <a:latin typeface="+mn-lt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F92418F-B060-676B-D7AF-F5B2D384C59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7373" y="2108200"/>
            <a:ext cx="4070667" cy="377008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We are thankful for the commitment of all our staff and for the trust of our customers and shareholders.</a:t>
            </a:r>
          </a:p>
          <a:p>
            <a:pPr marL="0" indent="0">
              <a:buNone/>
            </a:pPr>
            <a:endParaRPr lang="en-US" sz="2400" b="1" dirty="0">
              <a:solidFill>
                <a:schemeClr val="tx2"/>
              </a:solidFill>
              <a:latin typeface="Montserrat" panose="00000500000000000000" pitchFamily="2" charset="0"/>
              <a:cs typeface="Calibri Light" panose="020F0302020204030204" pitchFamily="34" charset="0"/>
            </a:endParaRPr>
          </a:p>
          <a:p>
            <a:pPr marL="0" indent="0">
              <a:buNone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ontserrat" panose="00000500000000000000" pitchFamily="2" charset="0"/>
                <a:cs typeface="Calibri Light" panose="020F0302020204030204" pitchFamily="34" charset="0"/>
              </a:rPr>
              <a:t>They are an integral part of our success.</a:t>
            </a:r>
          </a:p>
          <a:p>
            <a:endParaRPr lang="fr-FR" sz="2400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C0287C60-AF4A-5087-EC82-4DCE419ABFAF}"/>
              </a:ext>
            </a:extLst>
          </p:cNvPr>
          <p:cNvGrpSpPr/>
          <p:nvPr/>
        </p:nvGrpSpPr>
        <p:grpSpPr>
          <a:xfrm>
            <a:off x="4899659" y="1827383"/>
            <a:ext cx="6413283" cy="4032791"/>
            <a:chOff x="3534188" y="1170801"/>
            <a:chExt cx="8092914" cy="5088973"/>
          </a:xfrm>
        </p:grpSpPr>
        <p:pic>
          <p:nvPicPr>
            <p:cNvPr id="6" name="Image 5">
              <a:extLst>
                <a:ext uri="{FF2B5EF4-FFF2-40B4-BE49-F238E27FC236}">
                  <a16:creationId xmlns:a16="http://schemas.microsoft.com/office/drawing/2014/main" id="{5AE35F78-7AEC-C9BC-50B6-C2E5B0B9CF4D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596216" y="3786574"/>
              <a:ext cx="1911600" cy="2473200"/>
            </a:xfrm>
            <a:prstGeom prst="rect">
              <a:avLst/>
            </a:prstGeom>
          </p:spPr>
        </p:pic>
        <p:pic>
          <p:nvPicPr>
            <p:cNvPr id="7" name="Image 6" descr="Une image contenant personne, Visage humain, habits, sourire&#10;&#10;Description générée automatiquement">
              <a:extLst>
                <a:ext uri="{FF2B5EF4-FFF2-40B4-BE49-F238E27FC236}">
                  <a16:creationId xmlns:a16="http://schemas.microsoft.com/office/drawing/2014/main" id="{A0C4E113-175D-C22A-3E73-D63272333BE5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594626" y="1170801"/>
              <a:ext cx="1911600" cy="2473200"/>
            </a:xfrm>
            <a:prstGeom prst="rect">
              <a:avLst/>
            </a:prstGeom>
          </p:spPr>
        </p:pic>
        <p:pic>
          <p:nvPicPr>
            <p:cNvPr id="8" name="Image 7" descr="Une image contenant Visage humain, personne, habits, bâtiment&#10;&#10;Description générée automatiquement">
              <a:extLst>
                <a:ext uri="{FF2B5EF4-FFF2-40B4-BE49-F238E27FC236}">
                  <a16:creationId xmlns:a16="http://schemas.microsoft.com/office/drawing/2014/main" id="{99FA3DCB-129E-4F62-EB8B-8674B4806DF7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536746" y="3786574"/>
              <a:ext cx="1911600" cy="2473200"/>
            </a:xfrm>
            <a:prstGeom prst="rect">
              <a:avLst/>
            </a:prstGeom>
          </p:spPr>
        </p:pic>
        <p:pic>
          <p:nvPicPr>
            <p:cNvPr id="9" name="Image 8" descr="Une image contenant personne, habits, intérieur, sourire&#10;&#10;Description générée automatiquement">
              <a:extLst>
                <a:ext uri="{FF2B5EF4-FFF2-40B4-BE49-F238E27FC236}">
                  <a16:creationId xmlns:a16="http://schemas.microsoft.com/office/drawing/2014/main" id="{62181AA4-AD04-495C-8C7C-C819157EDF95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534188" y="1170801"/>
              <a:ext cx="1911600" cy="2473200"/>
            </a:xfrm>
            <a:prstGeom prst="rect">
              <a:avLst/>
            </a:prstGeom>
          </p:spPr>
        </p:pic>
        <p:pic>
          <p:nvPicPr>
            <p:cNvPr id="10" name="Image 9" descr="Une image contenant personne, Instruments de vol, transport, habits&#10;&#10;Description générée automatiquement">
              <a:extLst>
                <a:ext uri="{FF2B5EF4-FFF2-40B4-BE49-F238E27FC236}">
                  <a16:creationId xmlns:a16="http://schemas.microsoft.com/office/drawing/2014/main" id="{AA6C8881-2292-16D4-5025-7F81E0DF4F6C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715502" y="1170801"/>
              <a:ext cx="1911600" cy="2473200"/>
            </a:xfrm>
            <a:prstGeom prst="rect">
              <a:avLst/>
            </a:prstGeom>
          </p:spPr>
        </p:pic>
        <p:pic>
          <p:nvPicPr>
            <p:cNvPr id="11" name="Image 10" descr="Une image contenant personne, habits, intérieur, ordinateur&#10;&#10;Description générée automatiquement">
              <a:extLst>
                <a:ext uri="{FF2B5EF4-FFF2-40B4-BE49-F238E27FC236}">
                  <a16:creationId xmlns:a16="http://schemas.microsoft.com/office/drawing/2014/main" id="{B82AF996-7A29-F01E-D980-D66491EBF48E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55688" y="3786574"/>
              <a:ext cx="1911600" cy="2473200"/>
            </a:xfrm>
            <a:prstGeom prst="rect">
              <a:avLst/>
            </a:prstGeom>
          </p:spPr>
        </p:pic>
        <p:pic>
          <p:nvPicPr>
            <p:cNvPr id="12" name="Image 11" descr="Une image contenant habits, personne, homme, Technicien&#10;&#10;Description générée automatiquement">
              <a:extLst>
                <a:ext uri="{FF2B5EF4-FFF2-40B4-BE49-F238E27FC236}">
                  <a16:creationId xmlns:a16="http://schemas.microsoft.com/office/drawing/2014/main" id="{882BA618-02E3-77B7-5120-51E15E2BB2A2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55064" y="1170801"/>
              <a:ext cx="1911600" cy="2473200"/>
            </a:xfrm>
            <a:prstGeom prst="rect">
              <a:avLst/>
            </a:prstGeom>
          </p:spPr>
        </p:pic>
        <p:pic>
          <p:nvPicPr>
            <p:cNvPr id="13" name="Image 12" descr="Une image contenant habits, personne, Visage humain, sourire&#10;&#10;Description générée automatiquement">
              <a:extLst>
                <a:ext uri="{FF2B5EF4-FFF2-40B4-BE49-F238E27FC236}">
                  <a16:creationId xmlns:a16="http://schemas.microsoft.com/office/drawing/2014/main" id="{65B55B6A-A0CE-950E-A18B-CF104D350A01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715159" y="3786574"/>
              <a:ext cx="1911600" cy="24732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73392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90BEA5-0519-63F0-C7FF-1EDFCEED7E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48BA572-3C5C-E342-AE60-D37406DA7D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8BA572-3C5C-E342-AE60-D37406DA7D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FC80A696-BADE-90D9-7582-1C4596FBFDA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0950" y="338888"/>
            <a:ext cx="2523313" cy="502954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ZA" b="1" dirty="0">
                <a:latin typeface="+mn-lt"/>
              </a:rPr>
              <a:t>GOVERNANCE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01BB9823-8EF4-95E3-2C4B-93E45C6CFFE1}"/>
              </a:ext>
            </a:extLst>
          </p:cNvPr>
          <p:cNvGrpSpPr/>
          <p:nvPr/>
        </p:nvGrpSpPr>
        <p:grpSpPr>
          <a:xfrm>
            <a:off x="726564" y="4035227"/>
            <a:ext cx="1444248" cy="1724866"/>
            <a:chOff x="11336519" y="1219810"/>
            <a:chExt cx="1423237" cy="1757074"/>
          </a:xfrm>
        </p:grpSpPr>
        <p:pic>
          <p:nvPicPr>
            <p:cNvPr id="64" name="Image 63">
              <a:extLst>
                <a:ext uri="{FF2B5EF4-FFF2-40B4-BE49-F238E27FC236}">
                  <a16:creationId xmlns:a16="http://schemas.microsoft.com/office/drawing/2014/main" id="{6A385111-0188-F292-AA8A-663C1FBA69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54807" y="1219810"/>
              <a:ext cx="1404949" cy="1473997"/>
            </a:xfrm>
            <a:prstGeom prst="rect">
              <a:avLst/>
            </a:prstGeom>
          </p:spPr>
        </p:pic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F12353E6-F790-35EC-71EE-397C6EBCB751}"/>
                </a:ext>
              </a:extLst>
            </p:cNvPr>
            <p:cNvSpPr/>
            <p:nvPr/>
          </p:nvSpPr>
          <p:spPr bwMode="gray">
            <a:xfrm>
              <a:off x="11336519" y="2694001"/>
              <a:ext cx="1393400" cy="28288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207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EVP SAS Integration, Air France-KLM</a:t>
              </a:r>
              <a:endParaRPr kumimoji="0" lang="en-US" sz="800" b="0" i="0" u="none" strike="noStrike" kern="0" cap="none" spc="0" normalizeH="0" baseline="30000" noProof="0" dirty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2C229316-3BA1-6BFC-7995-9DD19A3D6009}"/>
              </a:ext>
            </a:extLst>
          </p:cNvPr>
          <p:cNvGrpSpPr/>
          <p:nvPr/>
        </p:nvGrpSpPr>
        <p:grpSpPr>
          <a:xfrm>
            <a:off x="2458904" y="2113579"/>
            <a:ext cx="1425688" cy="1771326"/>
            <a:chOff x="2727812" y="1238851"/>
            <a:chExt cx="1424607" cy="1745946"/>
          </a:xfrm>
        </p:grpSpPr>
        <p:pic>
          <p:nvPicPr>
            <p:cNvPr id="58" name="Image 57">
              <a:extLst>
                <a:ext uri="{FF2B5EF4-FFF2-40B4-BE49-F238E27FC236}">
                  <a16:creationId xmlns:a16="http://schemas.microsoft.com/office/drawing/2014/main" id="{5794C66C-E2B3-ADD5-1512-DD628C031A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727812" y="1238851"/>
              <a:ext cx="1424607" cy="1463063"/>
            </a:xfrm>
            <a:prstGeom prst="rect">
              <a:avLst/>
            </a:prstGeom>
          </p:spPr>
        </p:pic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1BBA7BC6-8095-604E-F853-485D4A035707}"/>
                </a:ext>
              </a:extLst>
            </p:cNvPr>
            <p:cNvSpPr/>
            <p:nvPr/>
          </p:nvSpPr>
          <p:spPr bwMode="gray">
            <a:xfrm>
              <a:off x="2727812" y="2701914"/>
              <a:ext cx="1424573" cy="28288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207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Chief Executive Officer, Air France</a:t>
              </a:r>
            </a:p>
          </p:txBody>
        </p:sp>
      </p:grpSp>
      <p:grpSp>
        <p:nvGrpSpPr>
          <p:cNvPr id="4" name="Groupe 3">
            <a:extLst>
              <a:ext uri="{FF2B5EF4-FFF2-40B4-BE49-F238E27FC236}">
                <a16:creationId xmlns:a16="http://schemas.microsoft.com/office/drawing/2014/main" id="{935F642E-DDDA-F768-373D-1BD7CC899540}"/>
              </a:ext>
            </a:extLst>
          </p:cNvPr>
          <p:cNvGrpSpPr/>
          <p:nvPr/>
        </p:nvGrpSpPr>
        <p:grpSpPr>
          <a:xfrm>
            <a:off x="745815" y="2113579"/>
            <a:ext cx="1425690" cy="1771326"/>
            <a:chOff x="648936" y="1238851"/>
            <a:chExt cx="1424608" cy="1745946"/>
          </a:xfrm>
        </p:grpSpPr>
        <p:pic>
          <p:nvPicPr>
            <p:cNvPr id="55" name="Image 54">
              <a:extLst>
                <a:ext uri="{FF2B5EF4-FFF2-40B4-BE49-F238E27FC236}">
                  <a16:creationId xmlns:a16="http://schemas.microsoft.com/office/drawing/2014/main" id="{2B14A560-B597-67D2-15C6-BB6B8739641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8936" y="1238851"/>
              <a:ext cx="1424608" cy="1463063"/>
            </a:xfrm>
            <a:prstGeom prst="rect">
              <a:avLst/>
            </a:prstGeom>
          </p:spPr>
        </p:pic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83CFC989-2F91-EF64-04D0-20C00C5E2E59}"/>
                </a:ext>
              </a:extLst>
            </p:cNvPr>
            <p:cNvSpPr/>
            <p:nvPr/>
          </p:nvSpPr>
          <p:spPr bwMode="gray">
            <a:xfrm>
              <a:off x="648936" y="2701914"/>
              <a:ext cx="1393662" cy="28288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207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Chief Executive Officer, Air France-KLM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0D489B7C-2614-8BB7-0404-1E8709326937}"/>
              </a:ext>
            </a:extLst>
          </p:cNvPr>
          <p:cNvGrpSpPr/>
          <p:nvPr/>
        </p:nvGrpSpPr>
        <p:grpSpPr>
          <a:xfrm>
            <a:off x="2455845" y="4035227"/>
            <a:ext cx="1476919" cy="1737846"/>
            <a:chOff x="4881743" y="3429000"/>
            <a:chExt cx="1455433" cy="1770296"/>
          </a:xfrm>
        </p:grpSpPr>
        <p:pic>
          <p:nvPicPr>
            <p:cNvPr id="65" name="Image 64">
              <a:extLst>
                <a:ext uri="{FF2B5EF4-FFF2-40B4-BE49-F238E27FC236}">
                  <a16:creationId xmlns:a16="http://schemas.microsoft.com/office/drawing/2014/main" id="{4077BD7F-3902-F1A2-003D-92F0ABAE7A5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81743" y="3429000"/>
              <a:ext cx="1455433" cy="1477637"/>
            </a:xfrm>
            <a:prstGeom prst="rect">
              <a:avLst/>
            </a:prstGeom>
          </p:spPr>
        </p:pic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0AB65CD6-78FB-9F95-C99F-984DF881BF31}"/>
                </a:ext>
              </a:extLst>
            </p:cNvPr>
            <p:cNvSpPr/>
            <p:nvPr/>
          </p:nvSpPr>
          <p:spPr bwMode="gray">
            <a:xfrm>
              <a:off x="4881743" y="4903191"/>
              <a:ext cx="1434456" cy="296105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207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normalizeH="0" baseline="0" noProof="0" dirty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EVP Chief Operating Officer, Air France-KLM</a:t>
              </a:r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E7BEEE5D-D1C4-83A4-C46B-9AE2A6ADC7D0}"/>
              </a:ext>
            </a:extLst>
          </p:cNvPr>
          <p:cNvGrpSpPr/>
          <p:nvPr/>
        </p:nvGrpSpPr>
        <p:grpSpPr>
          <a:xfrm>
            <a:off x="9271627" y="2133015"/>
            <a:ext cx="1449545" cy="1784999"/>
            <a:chOff x="2746060" y="3419088"/>
            <a:chExt cx="1448446" cy="1759423"/>
          </a:xfrm>
        </p:grpSpPr>
        <p:pic>
          <p:nvPicPr>
            <p:cNvPr id="63" name="Image 62">
              <a:extLst>
                <a:ext uri="{FF2B5EF4-FFF2-40B4-BE49-F238E27FC236}">
                  <a16:creationId xmlns:a16="http://schemas.microsoft.com/office/drawing/2014/main" id="{7C0002CC-8B87-74E4-E5E4-CDE56640113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746060" y="3419088"/>
              <a:ext cx="1448446" cy="1473997"/>
            </a:xfrm>
            <a:prstGeom prst="rect">
              <a:avLst/>
            </a:prstGeom>
          </p:spPr>
        </p:pic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4BF376D2-D13D-25B1-310A-A564F10B665E}"/>
                </a:ext>
              </a:extLst>
            </p:cNvPr>
            <p:cNvSpPr/>
            <p:nvPr/>
          </p:nvSpPr>
          <p:spPr bwMode="gray">
            <a:xfrm>
              <a:off x="2746060" y="4895628"/>
              <a:ext cx="1448446" cy="28288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207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EVP Chief Commercial Officer, Air France-KLM</a:t>
              </a:r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9255D7B3-554F-39C1-7EA7-22B99A8DC3EF}"/>
              </a:ext>
            </a:extLst>
          </p:cNvPr>
          <p:cNvGrpSpPr/>
          <p:nvPr/>
        </p:nvGrpSpPr>
        <p:grpSpPr>
          <a:xfrm>
            <a:off x="5888035" y="2133522"/>
            <a:ext cx="1425691" cy="1768746"/>
            <a:chOff x="7033531" y="1238851"/>
            <a:chExt cx="1424609" cy="1743403"/>
          </a:xfrm>
        </p:grpSpPr>
        <p:pic>
          <p:nvPicPr>
            <p:cNvPr id="60" name="Image 59">
              <a:extLst>
                <a:ext uri="{FF2B5EF4-FFF2-40B4-BE49-F238E27FC236}">
                  <a16:creationId xmlns:a16="http://schemas.microsoft.com/office/drawing/2014/main" id="{048A48D3-791B-97C5-E4A1-EF18673E6C6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033533" y="1238851"/>
              <a:ext cx="1424607" cy="1463063"/>
            </a:xfrm>
            <a:prstGeom prst="rect">
              <a:avLst/>
            </a:prstGeom>
          </p:spPr>
        </p:pic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3643C4B4-DDBB-949A-3B85-504ACCC26BA5}"/>
                </a:ext>
              </a:extLst>
            </p:cNvPr>
            <p:cNvSpPr/>
            <p:nvPr/>
          </p:nvSpPr>
          <p:spPr bwMode="gray">
            <a:xfrm>
              <a:off x="7033531" y="2699371"/>
              <a:ext cx="1382311" cy="28288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207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Chief Financial Officer, Air France-KLM</a:t>
              </a:r>
            </a:p>
          </p:txBody>
        </p:sp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id="{6BA95C29-77B6-8F46-ABA1-3555CC3EB884}"/>
              </a:ext>
            </a:extLst>
          </p:cNvPr>
          <p:cNvGrpSpPr/>
          <p:nvPr/>
        </p:nvGrpSpPr>
        <p:grpSpPr>
          <a:xfrm>
            <a:off x="4126563" y="2140413"/>
            <a:ext cx="1425714" cy="1763928"/>
            <a:chOff x="4881743" y="1246143"/>
            <a:chExt cx="1424633" cy="1738654"/>
          </a:xfrm>
        </p:grpSpPr>
        <p:pic>
          <p:nvPicPr>
            <p:cNvPr id="59" name="Image 58">
              <a:extLst>
                <a:ext uri="{FF2B5EF4-FFF2-40B4-BE49-F238E27FC236}">
                  <a16:creationId xmlns:a16="http://schemas.microsoft.com/office/drawing/2014/main" id="{46F06DDD-4387-1CD3-1C0F-B4F32AB5C8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118"/>
            <a:stretch>
              <a:fillRect/>
            </a:stretch>
          </p:blipFill>
          <p:spPr>
            <a:xfrm>
              <a:off x="4881768" y="1246143"/>
              <a:ext cx="1424608" cy="1463063"/>
            </a:xfrm>
            <a:prstGeom prst="rect">
              <a:avLst/>
            </a:prstGeom>
          </p:spPr>
        </p:pic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9ACC7C3B-9AAE-C9FD-EB9B-F45DE82ACAA0}"/>
                </a:ext>
              </a:extLst>
            </p:cNvPr>
            <p:cNvSpPr/>
            <p:nvPr/>
          </p:nvSpPr>
          <p:spPr bwMode="gray">
            <a:xfrm>
              <a:off x="4881743" y="2701914"/>
              <a:ext cx="1424573" cy="28288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207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President </a:t>
              </a:r>
              <a:r>
                <a:rPr lang="en-US" sz="800" kern="0" dirty="0">
                  <a:solidFill>
                    <a:srgbClr val="091C62"/>
                  </a:solidFill>
                  <a:latin typeface="Montserrat Light"/>
                </a:rPr>
                <a:t>&amp; Chief Executive Officer, KLM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endParaRPr>
            </a:p>
          </p:txBody>
        </p:sp>
      </p:grp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5FC12304-0BDF-EC4A-FD10-8EAEE41C57CA}"/>
              </a:ext>
            </a:extLst>
          </p:cNvPr>
          <p:cNvGrpSpPr/>
          <p:nvPr/>
        </p:nvGrpSpPr>
        <p:grpSpPr>
          <a:xfrm>
            <a:off x="7573086" y="2133015"/>
            <a:ext cx="1614520" cy="1784999"/>
            <a:chOff x="658799" y="3419088"/>
            <a:chExt cx="1613296" cy="1759423"/>
          </a:xfrm>
        </p:grpSpPr>
        <p:pic>
          <p:nvPicPr>
            <p:cNvPr id="62" name="Image 61">
              <a:extLst>
                <a:ext uri="{FF2B5EF4-FFF2-40B4-BE49-F238E27FC236}">
                  <a16:creationId xmlns:a16="http://schemas.microsoft.com/office/drawing/2014/main" id="{055CDBEB-6FA1-895A-C70D-7FAD10A8037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58799" y="3419088"/>
              <a:ext cx="1455432" cy="1473997"/>
            </a:xfrm>
            <a:prstGeom prst="rect">
              <a:avLst/>
            </a:prstGeom>
          </p:spPr>
        </p:pic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F022DD2A-6D14-3C72-E385-185C45A623E7}"/>
                </a:ext>
              </a:extLst>
            </p:cNvPr>
            <p:cNvSpPr/>
            <p:nvPr/>
          </p:nvSpPr>
          <p:spPr bwMode="gray">
            <a:xfrm>
              <a:off x="675465" y="4895628"/>
              <a:ext cx="1596630" cy="28288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EVP Engineering &amp; Maintenance, </a:t>
              </a:r>
              <a:r>
                <a:rPr lang="en-US" sz="800" kern="0" dirty="0">
                  <a:solidFill>
                    <a:srgbClr val="091C62"/>
                  </a:solidFill>
                  <a:latin typeface="Montserrat Light"/>
                </a:rPr>
                <a:t>Air France-KLM 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endParaRPr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1ED95D88-09CB-49DC-AB89-13C9BAC5B5C1}"/>
              </a:ext>
            </a:extLst>
          </p:cNvPr>
          <p:cNvGrpSpPr/>
          <p:nvPr/>
        </p:nvGrpSpPr>
        <p:grpSpPr>
          <a:xfrm>
            <a:off x="4157794" y="4044822"/>
            <a:ext cx="1447365" cy="1721132"/>
            <a:chOff x="9138489" y="3468640"/>
            <a:chExt cx="1426308" cy="1753271"/>
          </a:xfrm>
        </p:grpSpPr>
        <p:pic>
          <p:nvPicPr>
            <p:cNvPr id="67" name="Image 66">
              <a:extLst>
                <a:ext uri="{FF2B5EF4-FFF2-40B4-BE49-F238E27FC236}">
                  <a16:creationId xmlns:a16="http://schemas.microsoft.com/office/drawing/2014/main" id="{FDB24CE7-8FFF-A627-5A57-9D90A43B35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001"/>
            <a:stretch>
              <a:fillRect/>
            </a:stretch>
          </p:blipFill>
          <p:spPr>
            <a:xfrm>
              <a:off x="9138489" y="3468640"/>
              <a:ext cx="1426308" cy="1477637"/>
            </a:xfrm>
            <a:prstGeom prst="rect">
              <a:avLst/>
            </a:prstGeom>
          </p:spPr>
        </p:pic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7DFB8108-8AC3-6762-10B9-D8E81DFBE6B4}"/>
                </a:ext>
              </a:extLst>
            </p:cNvPr>
            <p:cNvSpPr/>
            <p:nvPr/>
          </p:nvSpPr>
          <p:spPr bwMode="gray">
            <a:xfrm>
              <a:off x="9138489" y="4939027"/>
              <a:ext cx="1296000" cy="282884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207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EVP Cargo, Air France-KLM</a:t>
              </a:r>
            </a:p>
          </p:txBody>
        </p:sp>
      </p:grp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D30B7917-2DB5-ECE6-1DA7-76AFF248435A}"/>
              </a:ext>
            </a:extLst>
          </p:cNvPr>
          <p:cNvGrpSpPr/>
          <p:nvPr/>
        </p:nvGrpSpPr>
        <p:grpSpPr>
          <a:xfrm>
            <a:off x="5858093" y="4045902"/>
            <a:ext cx="1455632" cy="1713943"/>
            <a:chOff x="6497009" y="3698708"/>
            <a:chExt cx="1434456" cy="1745946"/>
          </a:xfrm>
        </p:grpSpPr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B8E27651-47A8-A755-D0CE-1F001C6F5F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497009" y="3698708"/>
              <a:ext cx="1434456" cy="1463063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9E71A43-8638-D43F-B759-E427FCD94D32}"/>
                </a:ext>
              </a:extLst>
            </p:cNvPr>
            <p:cNvSpPr/>
            <p:nvPr/>
          </p:nvSpPr>
          <p:spPr bwMode="gray">
            <a:xfrm>
              <a:off x="6497009" y="5161771"/>
              <a:ext cx="1392744" cy="28288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9207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EVP Human Resources, Air France-KLM</a:t>
              </a:r>
            </a:p>
          </p:txBody>
        </p:sp>
      </p:grpSp>
      <p:sp>
        <p:nvSpPr>
          <p:cNvPr id="22" name="Espace réservé du texte 1">
            <a:extLst>
              <a:ext uri="{FF2B5EF4-FFF2-40B4-BE49-F238E27FC236}">
                <a16:creationId xmlns:a16="http://schemas.microsoft.com/office/drawing/2014/main" id="{50C6C2C3-80FE-FC02-7766-575619F4BB78}"/>
              </a:ext>
            </a:extLst>
          </p:cNvPr>
          <p:cNvSpPr txBox="1">
            <a:spLocks/>
          </p:cNvSpPr>
          <p:nvPr/>
        </p:nvSpPr>
        <p:spPr>
          <a:xfrm>
            <a:off x="610950" y="826452"/>
            <a:ext cx="4697788" cy="50295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2250" b="0" kern="1200" cap="all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FontTx/>
              <a:buNone/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FontTx/>
              <a:buNone/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FontTx/>
              <a:buNone/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FontTx/>
              <a:buNone/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ZA" sz="1800" dirty="0">
                <a:latin typeface="+mn-lt"/>
              </a:rPr>
              <a:t>EXECUTIVE COMMITTEE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F6C3BA52-E3B9-9B27-B89D-682694CC42EA}"/>
              </a:ext>
            </a:extLst>
          </p:cNvPr>
          <p:cNvSpPr txBox="1"/>
          <p:nvPr/>
        </p:nvSpPr>
        <p:spPr>
          <a:xfrm>
            <a:off x="538514" y="1097907"/>
            <a:ext cx="11042536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100" dirty="0"/>
              <a:t>Chaired by the Chief Executive Officer of Air France-KLM, the Group Executive Committee is composed of the Chief Executive Officer of Air France-KLM, the President and Chief Executive Officer of KLM, the Chief Executive Officer of Air France and the 8 heads of the Group's functions.</a:t>
            </a:r>
          </a:p>
          <a:p>
            <a:pPr algn="just"/>
            <a:endParaRPr lang="en-US" sz="1100" dirty="0"/>
          </a:p>
          <a:p>
            <a:pPr algn="just"/>
            <a:r>
              <a:rPr lang="en-US" sz="1100" dirty="0"/>
              <a:t>The Executive Committee is responsible for making key strategic decisions, overseeing organizational performance while ensure effective implementation of the company’s goals.</a:t>
            </a:r>
            <a:endParaRPr lang="fr-FR" sz="1100" dirty="0"/>
          </a:p>
        </p:txBody>
      </p:sp>
      <p:pic>
        <p:nvPicPr>
          <p:cNvPr id="10" name="Image 9" descr="Une image contenant Visage humain, personne, sourire, habits&#10;&#10;Le contenu généré par l’IA peut être incorrect.">
            <a:extLst>
              <a:ext uri="{FF2B5EF4-FFF2-40B4-BE49-F238E27FC236}">
                <a16:creationId xmlns:a16="http://schemas.microsoft.com/office/drawing/2014/main" id="{59EBFCC2-08D2-DDE2-E765-BCB264AFC1C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573086" y="4060671"/>
            <a:ext cx="1455632" cy="145563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442D75F1-BDA8-743A-3AD4-A52DD30486FE}"/>
              </a:ext>
            </a:extLst>
          </p:cNvPr>
          <p:cNvSpPr/>
          <p:nvPr/>
        </p:nvSpPr>
        <p:spPr bwMode="gray">
          <a:xfrm>
            <a:off x="7573086" y="5495375"/>
            <a:ext cx="1455632" cy="27769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91C62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EVP Strategy &amp; CEO Office, Air France-KLM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0A863A79-E27C-423F-50D2-36470ADF885D}"/>
              </a:ext>
            </a:extLst>
          </p:cNvPr>
          <p:cNvGrpSpPr/>
          <p:nvPr/>
        </p:nvGrpSpPr>
        <p:grpSpPr>
          <a:xfrm>
            <a:off x="9288641" y="4060670"/>
            <a:ext cx="1644368" cy="1894961"/>
            <a:chOff x="10102635" y="3975999"/>
            <a:chExt cx="1957730" cy="226635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F86C5FA-0553-28DB-575B-CA7C731C77ED}"/>
                </a:ext>
              </a:extLst>
            </p:cNvPr>
            <p:cNvSpPr/>
            <p:nvPr/>
          </p:nvSpPr>
          <p:spPr bwMode="gray">
            <a:xfrm>
              <a:off x="10102635" y="5704423"/>
              <a:ext cx="1957730" cy="537927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72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91C62"/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Executive Vice President, Corporate Secretary, Air France-KLM</a:t>
              </a:r>
            </a:p>
          </p:txBody>
        </p:sp>
        <p:pic>
          <p:nvPicPr>
            <p:cNvPr id="20" name="Image 19">
              <a:extLst>
                <a:ext uri="{FF2B5EF4-FFF2-40B4-BE49-F238E27FC236}">
                  <a16:creationId xmlns:a16="http://schemas.microsoft.com/office/drawing/2014/main" id="{16750855-5B8F-DA06-0738-7EAEC5B9CD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10107075" y="3975999"/>
              <a:ext cx="1564627" cy="17400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142454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01AFA18E-828A-EFDB-72E2-9AF5BFC08B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5835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AFA18E-828A-EFDB-72E2-9AF5BFC08B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A0868F63-4020-D5D6-D70B-2C85B01AAE46}"/>
              </a:ext>
            </a:extLst>
          </p:cNvPr>
          <p:cNvSpPr/>
          <p:nvPr/>
        </p:nvSpPr>
        <p:spPr>
          <a:xfrm>
            <a:off x="658798" y="1287576"/>
            <a:ext cx="10874403" cy="4794043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5DCD5EBC-9FAE-C60F-5446-64885AB649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b="1" dirty="0">
                <a:latin typeface="+mn-lt"/>
              </a:rPr>
              <a:t>Our renewed STRATEGIC AMBITION</a:t>
            </a:r>
            <a:endParaRPr lang="fr-FR" b="1" dirty="0">
              <a:latin typeface="+mn-lt"/>
            </a:endParaRPr>
          </a:p>
        </p:txBody>
      </p:sp>
      <p:grpSp>
        <p:nvGrpSpPr>
          <p:cNvPr id="11" name="Group 17">
            <a:extLst>
              <a:ext uri="{FF2B5EF4-FFF2-40B4-BE49-F238E27FC236}">
                <a16:creationId xmlns:a16="http://schemas.microsoft.com/office/drawing/2014/main" id="{BDF3986E-5D02-5388-112D-4B1462997DCD}"/>
              </a:ext>
            </a:extLst>
          </p:cNvPr>
          <p:cNvGrpSpPr/>
          <p:nvPr/>
        </p:nvGrpSpPr>
        <p:grpSpPr>
          <a:xfrm>
            <a:off x="3468569" y="1181810"/>
            <a:ext cx="603491" cy="5026069"/>
            <a:chOff x="2674502" y="1440339"/>
            <a:chExt cx="1262572" cy="4479635"/>
          </a:xfrm>
        </p:grpSpPr>
        <p:cxnSp>
          <p:nvCxnSpPr>
            <p:cNvPr id="12" name="Straight Connector 5">
              <a:extLst>
                <a:ext uri="{FF2B5EF4-FFF2-40B4-BE49-F238E27FC236}">
                  <a16:creationId xmlns:a16="http://schemas.microsoft.com/office/drawing/2014/main" id="{6238EAA4-9DF6-EB46-D916-57595F5EB4E4}"/>
                </a:ext>
              </a:extLst>
            </p:cNvPr>
            <p:cNvCxnSpPr>
              <a:cxnSpLocks/>
            </p:cNvCxnSpPr>
            <p:nvPr/>
          </p:nvCxnSpPr>
          <p:spPr>
            <a:xfrm>
              <a:off x="2705100" y="1440339"/>
              <a:ext cx="1231974" cy="2196559"/>
            </a:xfrm>
            <a:prstGeom prst="line">
              <a:avLst/>
            </a:prstGeom>
            <a:ln w="889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3">
              <a:extLst>
                <a:ext uri="{FF2B5EF4-FFF2-40B4-BE49-F238E27FC236}">
                  <a16:creationId xmlns:a16="http://schemas.microsoft.com/office/drawing/2014/main" id="{AFC34DF2-00CA-8876-B1FD-1BDF0C1180B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74502" y="3632534"/>
              <a:ext cx="1256296" cy="2287440"/>
            </a:xfrm>
            <a:prstGeom prst="line">
              <a:avLst/>
            </a:prstGeom>
            <a:ln w="889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Box 69">
            <a:extLst>
              <a:ext uri="{FF2B5EF4-FFF2-40B4-BE49-F238E27FC236}">
                <a16:creationId xmlns:a16="http://schemas.microsoft.com/office/drawing/2014/main" id="{9721843F-C2EC-3233-948B-67200BDBC8AB}"/>
              </a:ext>
            </a:extLst>
          </p:cNvPr>
          <p:cNvSpPr txBox="1"/>
          <p:nvPr/>
        </p:nvSpPr>
        <p:spPr>
          <a:xfrm>
            <a:off x="5386429" y="3981684"/>
            <a:ext cx="51737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ncrease employee engagement and satisfaction</a:t>
            </a:r>
          </a:p>
        </p:txBody>
      </p:sp>
      <p:sp>
        <p:nvSpPr>
          <p:cNvPr id="18" name="TextBox 70">
            <a:extLst>
              <a:ext uri="{FF2B5EF4-FFF2-40B4-BE49-F238E27FC236}">
                <a16:creationId xmlns:a16="http://schemas.microsoft.com/office/drawing/2014/main" id="{28977B0D-4AC5-3CD5-20FD-81FFB77CA82C}"/>
              </a:ext>
            </a:extLst>
          </p:cNvPr>
          <p:cNvSpPr txBox="1"/>
          <p:nvPr/>
        </p:nvSpPr>
        <p:spPr>
          <a:xfrm>
            <a:off x="5393001" y="4630593"/>
            <a:ext cx="46687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ead the way in sustainable aviation</a:t>
            </a:r>
          </a:p>
        </p:txBody>
      </p:sp>
      <p:sp>
        <p:nvSpPr>
          <p:cNvPr id="19" name="TextBox 71">
            <a:extLst>
              <a:ext uri="{FF2B5EF4-FFF2-40B4-BE49-F238E27FC236}">
                <a16:creationId xmlns:a16="http://schemas.microsoft.com/office/drawing/2014/main" id="{5282F674-7682-F204-8AFF-0BCEBDF0160C}"/>
              </a:ext>
            </a:extLst>
          </p:cNvPr>
          <p:cNvSpPr txBox="1"/>
          <p:nvPr/>
        </p:nvSpPr>
        <p:spPr>
          <a:xfrm>
            <a:off x="5393001" y="5249022"/>
            <a:ext cx="46687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everage technology, innovation and data</a:t>
            </a:r>
          </a:p>
        </p:txBody>
      </p:sp>
      <p:cxnSp>
        <p:nvCxnSpPr>
          <p:cNvPr id="20" name="Straight Connector 72">
            <a:extLst>
              <a:ext uri="{FF2B5EF4-FFF2-40B4-BE49-F238E27FC236}">
                <a16:creationId xmlns:a16="http://schemas.microsoft.com/office/drawing/2014/main" id="{A523C8AE-DA2B-CB95-F8B8-FC8C726330A2}"/>
              </a:ext>
            </a:extLst>
          </p:cNvPr>
          <p:cNvCxnSpPr>
            <a:cxnSpLocks/>
          </p:cNvCxnSpPr>
          <p:nvPr/>
        </p:nvCxnSpPr>
        <p:spPr>
          <a:xfrm>
            <a:off x="4960474" y="3828390"/>
            <a:ext cx="5508000" cy="0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18">
            <a:extLst>
              <a:ext uri="{FF2B5EF4-FFF2-40B4-BE49-F238E27FC236}">
                <a16:creationId xmlns:a16="http://schemas.microsoft.com/office/drawing/2014/main" id="{ACD07FC3-FC1E-F8BB-33FC-CD7480DA859C}"/>
              </a:ext>
            </a:extLst>
          </p:cNvPr>
          <p:cNvSpPr txBox="1"/>
          <p:nvPr/>
        </p:nvSpPr>
        <p:spPr>
          <a:xfrm>
            <a:off x="5381776" y="2106077"/>
            <a:ext cx="55313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mprove market position and strengthen business models</a:t>
            </a:r>
          </a:p>
        </p:txBody>
      </p:sp>
      <p:sp>
        <p:nvSpPr>
          <p:cNvPr id="22" name="TextBox 19">
            <a:extLst>
              <a:ext uri="{FF2B5EF4-FFF2-40B4-BE49-F238E27FC236}">
                <a16:creationId xmlns:a16="http://schemas.microsoft.com/office/drawing/2014/main" id="{936CF53C-26CC-7A1C-EDAA-EFE26E4645AE}"/>
              </a:ext>
            </a:extLst>
          </p:cNvPr>
          <p:cNvSpPr txBox="1"/>
          <p:nvPr/>
        </p:nvSpPr>
        <p:spPr>
          <a:xfrm>
            <a:off x="5383762" y="2739746"/>
            <a:ext cx="53787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oost profitability to join Europe’s frontrunners</a:t>
            </a:r>
          </a:p>
        </p:txBody>
      </p:sp>
      <p:sp>
        <p:nvSpPr>
          <p:cNvPr id="25" name="TextBox 23">
            <a:extLst>
              <a:ext uri="{FF2B5EF4-FFF2-40B4-BE49-F238E27FC236}">
                <a16:creationId xmlns:a16="http://schemas.microsoft.com/office/drawing/2014/main" id="{51CB6E1C-B2BC-5D63-4C95-E58DF5404BCE}"/>
              </a:ext>
            </a:extLst>
          </p:cNvPr>
          <p:cNvSpPr txBox="1"/>
          <p:nvPr/>
        </p:nvSpPr>
        <p:spPr>
          <a:xfrm>
            <a:off x="5384954" y="3368933"/>
            <a:ext cx="53852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aximise customer satisfaction and enhance brand value</a:t>
            </a:r>
          </a:p>
        </p:txBody>
      </p:sp>
      <p:cxnSp>
        <p:nvCxnSpPr>
          <p:cNvPr id="27" name="Straight Connector 29">
            <a:extLst>
              <a:ext uri="{FF2B5EF4-FFF2-40B4-BE49-F238E27FC236}">
                <a16:creationId xmlns:a16="http://schemas.microsoft.com/office/drawing/2014/main" id="{73555764-799C-34BF-9BF1-CD079AA59B32}"/>
              </a:ext>
            </a:extLst>
          </p:cNvPr>
          <p:cNvCxnSpPr>
            <a:cxnSpLocks/>
          </p:cNvCxnSpPr>
          <p:nvPr/>
        </p:nvCxnSpPr>
        <p:spPr>
          <a:xfrm>
            <a:off x="4960474" y="4462877"/>
            <a:ext cx="5508000" cy="0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30">
            <a:extLst>
              <a:ext uri="{FF2B5EF4-FFF2-40B4-BE49-F238E27FC236}">
                <a16:creationId xmlns:a16="http://schemas.microsoft.com/office/drawing/2014/main" id="{3299DB74-2591-D9DB-637D-08304FFC822D}"/>
              </a:ext>
            </a:extLst>
          </p:cNvPr>
          <p:cNvCxnSpPr>
            <a:cxnSpLocks/>
          </p:cNvCxnSpPr>
          <p:nvPr/>
        </p:nvCxnSpPr>
        <p:spPr>
          <a:xfrm>
            <a:off x="4960474" y="5097364"/>
            <a:ext cx="5508000" cy="0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1">
            <a:extLst>
              <a:ext uri="{FF2B5EF4-FFF2-40B4-BE49-F238E27FC236}">
                <a16:creationId xmlns:a16="http://schemas.microsoft.com/office/drawing/2014/main" id="{30CB96EB-743E-3AE5-BD23-76CA92633D2F}"/>
              </a:ext>
            </a:extLst>
          </p:cNvPr>
          <p:cNvCxnSpPr>
            <a:cxnSpLocks/>
          </p:cNvCxnSpPr>
          <p:nvPr/>
        </p:nvCxnSpPr>
        <p:spPr>
          <a:xfrm>
            <a:off x="4960474" y="2559416"/>
            <a:ext cx="5508000" cy="0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32">
            <a:extLst>
              <a:ext uri="{FF2B5EF4-FFF2-40B4-BE49-F238E27FC236}">
                <a16:creationId xmlns:a16="http://schemas.microsoft.com/office/drawing/2014/main" id="{E29941C2-478D-6BCD-829D-1BF33EEC7FFF}"/>
              </a:ext>
            </a:extLst>
          </p:cNvPr>
          <p:cNvCxnSpPr>
            <a:cxnSpLocks/>
          </p:cNvCxnSpPr>
          <p:nvPr/>
        </p:nvCxnSpPr>
        <p:spPr>
          <a:xfrm>
            <a:off x="4960474" y="3193903"/>
            <a:ext cx="5508000" cy="0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e 1">
            <a:extLst>
              <a:ext uri="{FF2B5EF4-FFF2-40B4-BE49-F238E27FC236}">
                <a16:creationId xmlns:a16="http://schemas.microsoft.com/office/drawing/2014/main" id="{D00957B3-B753-2B65-B55A-E5608C3B2BEF}"/>
              </a:ext>
            </a:extLst>
          </p:cNvPr>
          <p:cNvGrpSpPr/>
          <p:nvPr/>
        </p:nvGrpSpPr>
        <p:grpSpPr>
          <a:xfrm>
            <a:off x="988460" y="2033455"/>
            <a:ext cx="2239042" cy="3785652"/>
            <a:chOff x="128486" y="2044340"/>
            <a:chExt cx="2239042" cy="3785652"/>
          </a:xfrm>
        </p:grpSpPr>
        <p:sp>
          <p:nvSpPr>
            <p:cNvPr id="32" name="TextBox 34">
              <a:extLst>
                <a:ext uri="{FF2B5EF4-FFF2-40B4-BE49-F238E27FC236}">
                  <a16:creationId xmlns:a16="http://schemas.microsoft.com/office/drawing/2014/main" id="{DE7977F4-26E2-3357-ED47-4F068ABB2748}"/>
                </a:ext>
              </a:extLst>
            </p:cNvPr>
            <p:cNvSpPr txBox="1"/>
            <p:nvPr/>
          </p:nvSpPr>
          <p:spPr>
            <a:xfrm>
              <a:off x="128486" y="2044340"/>
              <a:ext cx="2239042" cy="37856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500" b="1" i="0" u="none" strike="noStrike" kern="1200" cap="none" spc="0" normalizeH="0" baseline="0" noProof="0">
                  <a:ln>
                    <a:noFill/>
                  </a:ln>
                  <a:solidFill>
                    <a:srgbClr val="051039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STRONG ASSETS </a:t>
              </a:r>
              <a:br>
                <a:rPr kumimoji="0" lang="fr-FR" sz="1500" b="1" i="0" u="none" strike="noStrike" kern="1200" cap="none" spc="0" normalizeH="0" baseline="0" noProof="0">
                  <a:ln>
                    <a:noFill/>
                  </a:ln>
                  <a:solidFill>
                    <a:srgbClr val="051039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</a:br>
              <a:r>
                <a:rPr kumimoji="0" lang="fr-FR" sz="1500" b="1" i="0" u="none" strike="noStrike" kern="1200" cap="none" spc="0" normalizeH="0" baseline="0" noProof="0">
                  <a:ln>
                    <a:noFill/>
                  </a:ln>
                  <a:solidFill>
                    <a:srgbClr val="051039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TO LEVERAG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5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fr-FR" sz="1500" b="1" i="0" u="none" strike="noStrike" kern="1200" cap="none" spc="0" normalizeH="0" baseline="0" noProof="0">
                  <a:ln>
                    <a:noFill/>
                  </a:ln>
                  <a:solidFill>
                    <a:srgbClr val="051039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</a:br>
              <a:endParaRPr kumimoji="0" lang="fr-FR" sz="15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500" b="1" i="0" u="none" strike="noStrike" kern="1200" cap="none" spc="0" normalizeH="0" baseline="0" noProof="0">
                  <a:ln>
                    <a:noFill/>
                  </a:ln>
                  <a:solidFill>
                    <a:srgbClr val="051039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RESTORED BALANCE SHEET POST-COVID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fr-FR" sz="1500" b="1" i="0" u="none" strike="noStrike" kern="1200" cap="none" spc="0" normalizeH="0" baseline="0" noProof="0">
                  <a:ln>
                    <a:noFill/>
                  </a:ln>
                  <a:solidFill>
                    <a:srgbClr val="051039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</a:br>
              <a:endParaRPr kumimoji="0" lang="fr-FR" sz="15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500" b="1" i="0" u="none" strike="noStrike" kern="1200" cap="none" spc="0" normalizeH="0" baseline="0" noProof="0">
                  <a:ln>
                    <a:noFill/>
                  </a:ln>
                  <a:solidFill>
                    <a:srgbClr val="051039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GROUP-WIDE TRANSFORMATION ALREADY WELL UNDERWAY</a:t>
              </a:r>
              <a:endParaRPr kumimoji="0" lang="fr-FR" sz="1500" b="1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3" name="Oval 35">
              <a:extLst>
                <a:ext uri="{FF2B5EF4-FFF2-40B4-BE49-F238E27FC236}">
                  <a16:creationId xmlns:a16="http://schemas.microsoft.com/office/drawing/2014/main" id="{2A7F227B-A036-52AA-E407-B47D1DDC8B72}"/>
                </a:ext>
              </a:extLst>
            </p:cNvPr>
            <p:cNvSpPr/>
            <p:nvPr/>
          </p:nvSpPr>
          <p:spPr>
            <a:xfrm>
              <a:off x="1095489" y="2730631"/>
              <a:ext cx="259754" cy="259754"/>
            </a:xfrm>
            <a:prstGeom prst="ellipse">
              <a:avLst/>
            </a:prstGeom>
            <a:solidFill>
              <a:schemeClr val="bg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+</a:t>
              </a: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4" name="Oval 36">
              <a:extLst>
                <a:ext uri="{FF2B5EF4-FFF2-40B4-BE49-F238E27FC236}">
                  <a16:creationId xmlns:a16="http://schemas.microsoft.com/office/drawing/2014/main" id="{9281A34F-433C-251F-5BCA-2744D930540C}"/>
                </a:ext>
              </a:extLst>
            </p:cNvPr>
            <p:cNvSpPr/>
            <p:nvPr/>
          </p:nvSpPr>
          <p:spPr>
            <a:xfrm>
              <a:off x="1095489" y="4115343"/>
              <a:ext cx="259754" cy="259754"/>
            </a:xfrm>
            <a:prstGeom prst="ellipse">
              <a:avLst/>
            </a:prstGeom>
            <a:solidFill>
              <a:schemeClr val="bg2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+</a:t>
              </a: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sp>
        <p:nvSpPr>
          <p:cNvPr id="35" name="ZoneTexte 18">
            <a:extLst>
              <a:ext uri="{FF2B5EF4-FFF2-40B4-BE49-F238E27FC236}">
                <a16:creationId xmlns:a16="http://schemas.microsoft.com/office/drawing/2014/main" id="{4412EBA6-9F77-62D5-E1B4-BC53F02CB798}"/>
              </a:ext>
            </a:extLst>
          </p:cNvPr>
          <p:cNvSpPr txBox="1"/>
          <p:nvPr/>
        </p:nvSpPr>
        <p:spPr>
          <a:xfrm>
            <a:off x="1082505" y="1496759"/>
            <a:ext cx="200631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ur foundations</a:t>
            </a:r>
          </a:p>
        </p:txBody>
      </p:sp>
      <p:sp>
        <p:nvSpPr>
          <p:cNvPr id="37" name="ZoneTexte 18">
            <a:extLst>
              <a:ext uri="{FF2B5EF4-FFF2-40B4-BE49-F238E27FC236}">
                <a16:creationId xmlns:a16="http://schemas.microsoft.com/office/drawing/2014/main" id="{3F4C688C-FE41-0F52-E65B-9630AA43D134}"/>
              </a:ext>
            </a:extLst>
          </p:cNvPr>
          <p:cNvSpPr txBox="1"/>
          <p:nvPr/>
        </p:nvSpPr>
        <p:spPr>
          <a:xfrm>
            <a:off x="4922184" y="1496759"/>
            <a:ext cx="527552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ur strategic roadmap</a:t>
            </a:r>
          </a:p>
        </p:txBody>
      </p:sp>
      <p:cxnSp>
        <p:nvCxnSpPr>
          <p:cNvPr id="54" name="Straight Connector 30">
            <a:extLst>
              <a:ext uri="{FF2B5EF4-FFF2-40B4-BE49-F238E27FC236}">
                <a16:creationId xmlns:a16="http://schemas.microsoft.com/office/drawing/2014/main" id="{0B11DCD2-345F-5AB3-452F-A9D86574D48E}"/>
              </a:ext>
            </a:extLst>
          </p:cNvPr>
          <p:cNvCxnSpPr>
            <a:cxnSpLocks/>
          </p:cNvCxnSpPr>
          <p:nvPr/>
        </p:nvCxnSpPr>
        <p:spPr>
          <a:xfrm>
            <a:off x="4960474" y="5731852"/>
            <a:ext cx="5508000" cy="0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Graphique 56">
            <a:extLst>
              <a:ext uri="{FF2B5EF4-FFF2-40B4-BE49-F238E27FC236}">
                <a16:creationId xmlns:a16="http://schemas.microsoft.com/office/drawing/2014/main" id="{E070BD88-10FA-2F9B-C09E-A6035939A78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64424" y="2714305"/>
            <a:ext cx="359038" cy="327122"/>
          </a:xfrm>
          <a:prstGeom prst="rect">
            <a:avLst/>
          </a:prstGeom>
        </p:spPr>
      </p:pic>
      <p:pic>
        <p:nvPicPr>
          <p:cNvPr id="59" name="Graphique 58">
            <a:extLst>
              <a:ext uri="{FF2B5EF4-FFF2-40B4-BE49-F238E27FC236}">
                <a16:creationId xmlns:a16="http://schemas.microsoft.com/office/drawing/2014/main" id="{262A6919-3ACC-DE87-B396-C31703F83F83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912564" y="3998029"/>
            <a:ext cx="462760" cy="295208"/>
          </a:xfrm>
          <a:prstGeom prst="rect">
            <a:avLst/>
          </a:prstGeom>
        </p:spPr>
      </p:pic>
      <p:pic>
        <p:nvPicPr>
          <p:cNvPr id="63" name="Graphique 62">
            <a:extLst>
              <a:ext uri="{FF2B5EF4-FFF2-40B4-BE49-F238E27FC236}">
                <a16:creationId xmlns:a16="http://schemas.microsoft.com/office/drawing/2014/main" id="{3DABDAC7-673C-6C8A-763D-D8654FEEC704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952456" y="3310565"/>
            <a:ext cx="382976" cy="371006"/>
          </a:xfrm>
          <a:prstGeom prst="rect">
            <a:avLst/>
          </a:prstGeom>
        </p:spPr>
      </p:pic>
      <p:pic>
        <p:nvPicPr>
          <p:cNvPr id="65" name="Graphique 64">
            <a:extLst>
              <a:ext uri="{FF2B5EF4-FFF2-40B4-BE49-F238E27FC236}">
                <a16:creationId xmlns:a16="http://schemas.microsoft.com/office/drawing/2014/main" id="{A9967100-6C31-E406-8F07-EAE8453A240E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902589" y="5149847"/>
            <a:ext cx="482708" cy="478718"/>
          </a:xfrm>
          <a:prstGeom prst="rect">
            <a:avLst/>
          </a:prstGeom>
        </p:spPr>
      </p:pic>
      <p:pic>
        <p:nvPicPr>
          <p:cNvPr id="67" name="Graphique 66">
            <a:extLst>
              <a:ext uri="{FF2B5EF4-FFF2-40B4-BE49-F238E27FC236}">
                <a16:creationId xmlns:a16="http://schemas.microsoft.com/office/drawing/2014/main" id="{44B39349-D2F2-8728-B768-E669FE356970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954450" y="2077059"/>
            <a:ext cx="378988" cy="378986"/>
          </a:xfrm>
          <a:prstGeom prst="rect">
            <a:avLst/>
          </a:prstGeom>
        </p:spPr>
      </p:pic>
      <p:pic>
        <p:nvPicPr>
          <p:cNvPr id="5" name="Image 4" descr="Une image contenant Graphique, cercle, art, conception&#10;&#10;Le contenu généré par l’IA peut être incorrect.">
            <a:extLst>
              <a:ext uri="{FF2B5EF4-FFF2-40B4-BE49-F238E27FC236}">
                <a16:creationId xmlns:a16="http://schemas.microsoft.com/office/drawing/2014/main" id="{186BA77F-AA17-6517-BCC3-0F3775CF4AA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2456" y="4592000"/>
            <a:ext cx="371006" cy="371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0562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6">
            <a:extLst>
              <a:ext uri="{FF2B5EF4-FFF2-40B4-BE49-F238E27FC236}">
                <a16:creationId xmlns:a16="http://schemas.microsoft.com/office/drawing/2014/main" id="{EDB90727-C0C2-ADB8-B488-053A5B8227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0" b="8960"/>
          <a:stretch/>
        </p:blipFill>
        <p:spPr bwMode="auto">
          <a:xfrm>
            <a:off x="9287364" y="4067983"/>
            <a:ext cx="2160548" cy="1290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7F3843C-0CDB-4052-E93C-4E947AED50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395" imgH="396" progId="TCLayout.ActiveDocument.1">
                  <p:embed/>
                </p:oleObj>
              </mc:Choice>
              <mc:Fallback>
                <p:oleObj name="Diapositive think-cell" r:id="rId5" imgW="395" imgH="396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7F3843C-0CDB-4052-E93C-4E947AED5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7D238D21-AA8C-AFBE-20F6-1ED1F85C88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b="1" dirty="0">
                <a:latin typeface="+mn-lt"/>
              </a:rPr>
              <a:t>Our strengths support our businesses and enable us to deliver on air France-KLM strategy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B4CDE08-03CE-25A5-5DC8-B1AA9784885B}"/>
              </a:ext>
            </a:extLst>
          </p:cNvPr>
          <p:cNvGrpSpPr/>
          <p:nvPr/>
        </p:nvGrpSpPr>
        <p:grpSpPr>
          <a:xfrm>
            <a:off x="668424" y="2269542"/>
            <a:ext cx="2160000" cy="3091239"/>
            <a:chOff x="668424" y="2269542"/>
            <a:chExt cx="2160000" cy="3091239"/>
          </a:xfrm>
        </p:grpSpPr>
        <p:pic>
          <p:nvPicPr>
            <p:cNvPr id="30" name="Picture 7" descr="A group of men standing next to a large machine&#10;&#10;Description automatically generated with low confidence">
              <a:extLst>
                <a:ext uri="{FF2B5EF4-FFF2-40B4-BE49-F238E27FC236}">
                  <a16:creationId xmlns:a16="http://schemas.microsoft.com/office/drawing/2014/main" id="{B42453BE-7C1B-47B7-B848-379E806829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39"/>
            <a:stretch/>
          </p:blipFill>
          <p:spPr>
            <a:xfrm>
              <a:off x="668424" y="4388781"/>
              <a:ext cx="2160000" cy="972000"/>
            </a:xfrm>
            <a:prstGeom prst="rect">
              <a:avLst/>
            </a:prstGeom>
          </p:spPr>
        </p:pic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20B3D8C-9969-4166-A993-9EA985E60E1D}"/>
                </a:ext>
              </a:extLst>
            </p:cNvPr>
            <p:cNvSpPr/>
            <p:nvPr/>
          </p:nvSpPr>
          <p:spPr>
            <a:xfrm>
              <a:off x="668424" y="2269542"/>
              <a:ext cx="2160000" cy="2124000"/>
            </a:xfrm>
            <a:prstGeom prst="rect">
              <a:avLst/>
            </a:prstGeom>
            <a:solidFill>
              <a:srgbClr val="293A65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45720" rIns="180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293A65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31" name="TextBox 39">
              <a:extLst>
                <a:ext uri="{FF2B5EF4-FFF2-40B4-BE49-F238E27FC236}">
                  <a16:creationId xmlns:a16="http://schemas.microsoft.com/office/drawing/2014/main" id="{2BEC2439-9A1A-467B-874A-DE238F6FFE3D}"/>
                </a:ext>
              </a:extLst>
            </p:cNvPr>
            <p:cNvSpPr txBox="1">
              <a:spLocks/>
            </p:cNvSpPr>
            <p:nvPr/>
          </p:nvSpPr>
          <p:spPr>
            <a:xfrm>
              <a:off x="717024" y="2839100"/>
              <a:ext cx="2062800" cy="861774"/>
            </a:xfrm>
            <a:prstGeom prst="rect">
              <a:avLst/>
            </a:prstGeom>
          </p:spPr>
          <p:txBody>
            <a:bodyPr vert="horz" wrap="square" lIns="180000" tIns="0" rIns="180000" bIns="0" rtlCol="0" anchor="t">
              <a:spAutoFit/>
            </a:bodyPr>
            <a:lstStyle>
              <a:lvl1pPr marL="180000" lvl="0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600"/>
              </a:lvl1pPr>
              <a:lvl2pPr marL="396000" lvl="1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400"/>
              </a:lvl2pPr>
              <a:lvl3pPr marL="612000" lvl="2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3pPr>
              <a:lvl4pPr marL="828000" lvl="3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4pPr>
              <a:lvl5pPr marL="1044000" lvl="4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5pPr>
              <a:lvl6pPr marL="18859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6pPr>
              <a:lvl7pPr marL="22288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7pPr>
              <a:lvl8pPr marL="25717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8pPr>
              <a:lvl9pPr marL="29146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en-US" sz="2800" dirty="0">
                  <a:solidFill>
                    <a:prstClr val="white"/>
                  </a:solidFill>
                  <a:latin typeface="Montserrat Light" pitchFamily="2" charset="77"/>
                  <a:cs typeface="Calibri Light" panose="020F0302020204030204" pitchFamily="34" charset="0"/>
                </a:rPr>
                <a:t>80</a:t>
              </a: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Light" pitchFamily="2" charset="77"/>
                  <a:ea typeface="+mn-ea"/>
                  <a:cs typeface="Calibri Light" panose="020F0302020204030204" pitchFamily="34" charset="0"/>
                </a:rPr>
                <a:t>,000</a:t>
              </a: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  <a:t> </a:t>
              </a:r>
              <a:b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  <a:t>Passionate and </a:t>
              </a: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  <a:t>Professional People </a:t>
              </a:r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5EAD45CC-7563-83F3-5599-87BC9CF91EC6}"/>
              </a:ext>
            </a:extLst>
          </p:cNvPr>
          <p:cNvGrpSpPr/>
          <p:nvPr/>
        </p:nvGrpSpPr>
        <p:grpSpPr>
          <a:xfrm>
            <a:off x="2828424" y="2269542"/>
            <a:ext cx="2160000" cy="3091239"/>
            <a:chOff x="2828424" y="2269542"/>
            <a:chExt cx="2160000" cy="3091239"/>
          </a:xfrm>
        </p:grpSpPr>
        <p:pic>
          <p:nvPicPr>
            <p:cNvPr id="36" name="Picture Placeholder 9">
              <a:extLst>
                <a:ext uri="{FF2B5EF4-FFF2-40B4-BE49-F238E27FC236}">
                  <a16:creationId xmlns:a16="http://schemas.microsoft.com/office/drawing/2014/main" id="{9BCF2E2C-193F-4514-9EDA-A2C1E2E09F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3"/>
            <a:stretch/>
          </p:blipFill>
          <p:spPr>
            <a:xfrm>
              <a:off x="2828424" y="4388023"/>
              <a:ext cx="2160000" cy="9727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E3C1FC2-6B55-4E6A-8610-738D80311AA0}"/>
                </a:ext>
              </a:extLst>
            </p:cNvPr>
            <p:cNvSpPr/>
            <p:nvPr/>
          </p:nvSpPr>
          <p:spPr>
            <a:xfrm>
              <a:off x="2828424" y="2269542"/>
              <a:ext cx="2160000" cy="2124000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38" name="TextBox 18">
              <a:extLst>
                <a:ext uri="{FF2B5EF4-FFF2-40B4-BE49-F238E27FC236}">
                  <a16:creationId xmlns:a16="http://schemas.microsoft.com/office/drawing/2014/main" id="{D1FBB487-F982-44E3-BC71-C362F8833C9F}"/>
                </a:ext>
              </a:extLst>
            </p:cNvPr>
            <p:cNvSpPr txBox="1"/>
            <p:nvPr/>
          </p:nvSpPr>
          <p:spPr>
            <a:xfrm>
              <a:off x="2877024" y="2839100"/>
              <a:ext cx="2062800" cy="615553"/>
            </a:xfrm>
            <a:prstGeom prst="rect">
              <a:avLst/>
            </a:prstGeom>
          </p:spPr>
          <p:txBody>
            <a:bodyPr vert="horz" wrap="square" lIns="180000" tIns="0" rIns="180000" bIns="0" rtlCol="0" anchor="t" anchorCtr="0">
              <a:spAutoFit/>
            </a:bodyPr>
            <a:lstStyle>
              <a:lvl1pPr marL="180000" lvl="0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600"/>
              </a:lvl1pPr>
              <a:lvl2pPr marL="396000" lvl="1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400"/>
              </a:lvl2pPr>
              <a:lvl3pPr marL="612000" lvl="2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3pPr>
              <a:lvl4pPr marL="828000" lvl="3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4pPr>
              <a:lvl5pPr marL="1044000" lvl="4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5pPr>
              <a:lvl6pPr marL="18859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6pPr>
              <a:lvl7pPr marL="22288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7pPr>
              <a:lvl8pPr marL="25717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8pPr>
              <a:lvl9pPr marL="29146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049DE1"/>
                  </a:solidFill>
                  <a:effectLst/>
                  <a:uLnTx/>
                  <a:uFillTx/>
                  <a:latin typeface="Montserrat Light" pitchFamily="2" charset="77"/>
                  <a:ea typeface="+mn-ea"/>
                  <a:cs typeface="Calibri Light" panose="020F0302020204030204" pitchFamily="34" charset="0"/>
                </a:rPr>
                <a:t>Three</a:t>
              </a: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solidFill>
                    <a:srgbClr val="293A65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  <a:t> </a:t>
              </a:r>
              <a:b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293A65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</a:b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293A65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  <a:t>Powerful Brands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93A65"/>
                </a:solidFill>
                <a:effectLst/>
                <a:uLnTx/>
                <a:uFillTx/>
                <a:latin typeface="Montserrat ExtraBold" pitchFamily="2" charset="77"/>
                <a:ea typeface="+mn-ea"/>
                <a:cs typeface="Calibri Light" panose="020F0302020204030204" pitchFamily="34" charset="0"/>
              </a:endParaRPr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735F149F-CE46-B9FB-163D-6A0BC7C624C6}"/>
              </a:ext>
            </a:extLst>
          </p:cNvPr>
          <p:cNvGrpSpPr/>
          <p:nvPr/>
        </p:nvGrpSpPr>
        <p:grpSpPr>
          <a:xfrm>
            <a:off x="7138168" y="2269542"/>
            <a:ext cx="2160000" cy="3089428"/>
            <a:chOff x="7138168" y="2269542"/>
            <a:chExt cx="2160000" cy="3089428"/>
          </a:xfrm>
        </p:grpSpPr>
        <p:pic>
          <p:nvPicPr>
            <p:cNvPr id="5" name="Picture 48">
              <a:extLst>
                <a:ext uri="{FF2B5EF4-FFF2-40B4-BE49-F238E27FC236}">
                  <a16:creationId xmlns:a16="http://schemas.microsoft.com/office/drawing/2014/main" id="{EB890159-5E68-3D81-93AB-50EED3C46C5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138168" y="4386212"/>
              <a:ext cx="2160000" cy="972758"/>
            </a:xfrm>
            <a:prstGeom prst="rect">
              <a:avLst/>
            </a:prstGeom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BC5224E1-B3D9-4072-826B-D789A57A028A}"/>
                </a:ext>
              </a:extLst>
            </p:cNvPr>
            <p:cNvSpPr/>
            <p:nvPr/>
          </p:nvSpPr>
          <p:spPr>
            <a:xfrm>
              <a:off x="7138168" y="2269542"/>
              <a:ext cx="2160000" cy="2124000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42" name="TextBox 39">
              <a:extLst>
                <a:ext uri="{FF2B5EF4-FFF2-40B4-BE49-F238E27FC236}">
                  <a16:creationId xmlns:a16="http://schemas.microsoft.com/office/drawing/2014/main" id="{AF50B84C-89BF-49E5-8733-382CE6B2D14A}"/>
                </a:ext>
              </a:extLst>
            </p:cNvPr>
            <p:cNvSpPr txBox="1">
              <a:spLocks/>
            </p:cNvSpPr>
            <p:nvPr/>
          </p:nvSpPr>
          <p:spPr>
            <a:xfrm>
              <a:off x="7186768" y="2839100"/>
              <a:ext cx="2062800" cy="838691"/>
            </a:xfrm>
            <a:prstGeom prst="rect">
              <a:avLst/>
            </a:prstGeom>
          </p:spPr>
          <p:txBody>
            <a:bodyPr vert="horz" wrap="square" lIns="180000" tIns="0" rIns="180000" bIns="0" rtlCol="0" anchor="t">
              <a:spAutoFit/>
            </a:bodyPr>
            <a:lstStyle>
              <a:lvl1pPr marL="180000" lvl="0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600"/>
              </a:lvl1pPr>
              <a:lvl2pPr marL="396000" lvl="1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400"/>
              </a:lvl2pPr>
              <a:lvl3pPr marL="612000" lvl="2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3pPr>
              <a:lvl4pPr marL="828000" lvl="3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4pPr>
              <a:lvl5pPr marL="1044000" lvl="4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5pPr>
              <a:lvl6pPr marL="18859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6pPr>
              <a:lvl7pPr marL="22288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7pPr>
              <a:lvl8pPr marL="25717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8pPr>
              <a:lvl9pPr marL="29146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049DE1"/>
                  </a:solidFill>
                  <a:effectLst/>
                  <a:uLnTx/>
                  <a:uFillTx/>
                  <a:latin typeface="Montserrat Light" pitchFamily="2" charset="77"/>
                  <a:ea typeface="+mn-ea"/>
                  <a:cs typeface="Calibri Light" panose="020F0302020204030204" pitchFamily="34" charset="0"/>
                </a:rPr>
                <a:t>Networks</a:t>
              </a:r>
            </a:p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293A65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  <a:t>Extensive and </a:t>
              </a:r>
              <a:b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293A65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</a:b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293A65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  <a:t>Complementary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  <a:t> </a:t>
              </a:r>
            </a:p>
          </p:txBody>
        </p:sp>
      </p:grpSp>
      <p:grpSp>
        <p:nvGrpSpPr>
          <p:cNvPr id="9" name="Groupe 8">
            <a:extLst>
              <a:ext uri="{FF2B5EF4-FFF2-40B4-BE49-F238E27FC236}">
                <a16:creationId xmlns:a16="http://schemas.microsoft.com/office/drawing/2014/main" id="{B7AF0525-A5C4-5D7F-4BAC-DCC7E65D5198}"/>
              </a:ext>
            </a:extLst>
          </p:cNvPr>
          <p:cNvGrpSpPr/>
          <p:nvPr/>
        </p:nvGrpSpPr>
        <p:grpSpPr>
          <a:xfrm>
            <a:off x="4919203" y="2269541"/>
            <a:ext cx="2269080" cy="3097747"/>
            <a:chOff x="4919203" y="2269541"/>
            <a:chExt cx="2269080" cy="3097747"/>
          </a:xfrm>
        </p:grpSpPr>
        <p:pic>
          <p:nvPicPr>
            <p:cNvPr id="6" name="Picture 2">
              <a:extLst>
                <a:ext uri="{FF2B5EF4-FFF2-40B4-BE49-F238E27FC236}">
                  <a16:creationId xmlns:a16="http://schemas.microsoft.com/office/drawing/2014/main" id="{B067C643-250D-01BD-6046-F3C928AB932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973743" y="4395287"/>
              <a:ext cx="2160000" cy="9720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2" descr="Air France-KLM strengthens its strategic partnerships.">
              <a:extLst>
                <a:ext uri="{FF2B5EF4-FFF2-40B4-BE49-F238E27FC236}">
                  <a16:creationId xmlns:a16="http://schemas.microsoft.com/office/drawing/2014/main" id="{E96EE0FF-8ED3-46EC-96F3-31B9D749B07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flipV="1">
              <a:off x="5022746" y="3334925"/>
              <a:ext cx="2061994" cy="10564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75D98A99-2741-4A92-8BEA-B9FEE87CB582}"/>
                </a:ext>
              </a:extLst>
            </p:cNvPr>
            <p:cNvSpPr/>
            <p:nvPr/>
          </p:nvSpPr>
          <p:spPr>
            <a:xfrm>
              <a:off x="4973743" y="2269541"/>
              <a:ext cx="2160000" cy="2124000"/>
            </a:xfrm>
            <a:prstGeom prst="rect">
              <a:avLst/>
            </a:prstGeom>
            <a:solidFill>
              <a:srgbClr val="049DE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46" name="TextBox 53">
              <a:extLst>
                <a:ext uri="{FF2B5EF4-FFF2-40B4-BE49-F238E27FC236}">
                  <a16:creationId xmlns:a16="http://schemas.microsoft.com/office/drawing/2014/main" id="{9DADC753-0FBB-41B5-9430-B944754420BB}"/>
                </a:ext>
              </a:extLst>
            </p:cNvPr>
            <p:cNvSpPr txBox="1">
              <a:spLocks/>
            </p:cNvSpPr>
            <p:nvPr/>
          </p:nvSpPr>
          <p:spPr>
            <a:xfrm>
              <a:off x="4919203" y="2839100"/>
              <a:ext cx="2269080" cy="541018"/>
            </a:xfrm>
            <a:prstGeom prst="rect">
              <a:avLst/>
            </a:prstGeom>
          </p:spPr>
          <p:txBody>
            <a:bodyPr vert="horz" wrap="square" lIns="180000" tIns="0" rIns="180000" bIns="0" rtlCol="0" anchor="t">
              <a:noAutofit/>
            </a:bodyPr>
            <a:lstStyle>
              <a:lvl1pPr marL="180000" lvl="0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600"/>
              </a:lvl1pPr>
              <a:lvl2pPr marL="396000" lvl="1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400"/>
              </a:lvl2pPr>
              <a:lvl3pPr marL="612000" lvl="2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3pPr>
              <a:lvl4pPr marL="828000" lvl="3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4pPr>
              <a:lvl5pPr marL="1044000" lvl="4" indent="-180000" defTabSz="685800">
                <a:spcBef>
                  <a:spcPts val="300"/>
                </a:spcBef>
                <a:buFont typeface="Arial" panose="020B0604020202020204" pitchFamily="34" charset="0"/>
                <a:buChar char="•"/>
                <a:defRPr sz="1200"/>
              </a:lvl5pPr>
              <a:lvl6pPr marL="18859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6pPr>
              <a:lvl7pPr marL="22288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7pPr>
              <a:lvl8pPr marL="25717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8pPr>
              <a:lvl9pPr marL="2914650" indent="-17145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/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Light" pitchFamily="2" charset="77"/>
                  <a:ea typeface="+mn-ea"/>
                  <a:cs typeface="Calibri Light" panose="020F0302020204030204" pitchFamily="34" charset="0"/>
                </a:rPr>
                <a:t>Powerful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  <a:t> </a:t>
              </a:r>
              <a:b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</a:b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  <a:t>Partnerships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443CE1"/>
                  </a:solidFill>
                  <a:effectLst/>
                  <a:uLnTx/>
                  <a:uFillTx/>
                  <a:latin typeface="Montserrat ExtraBold" pitchFamily="2" charset="77"/>
                  <a:ea typeface="+mn-ea"/>
                  <a:cs typeface="Calibri Light" panose="020F0302020204030204" pitchFamily="34" charset="0"/>
                </a:rPr>
                <a:t> </a:t>
              </a:r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56F991E7-C133-419F-9A4D-7DF052429A3D}"/>
              </a:ext>
            </a:extLst>
          </p:cNvPr>
          <p:cNvSpPr/>
          <p:nvPr/>
        </p:nvSpPr>
        <p:spPr>
          <a:xfrm>
            <a:off x="9291788" y="2269542"/>
            <a:ext cx="2160000" cy="2124000"/>
          </a:xfrm>
          <a:prstGeom prst="rect">
            <a:avLst/>
          </a:prstGeom>
          <a:solidFill>
            <a:schemeClr val="accent2">
              <a:lumMod val="5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52" name="TextBox 39">
            <a:extLst>
              <a:ext uri="{FF2B5EF4-FFF2-40B4-BE49-F238E27FC236}">
                <a16:creationId xmlns:a16="http://schemas.microsoft.com/office/drawing/2014/main" id="{23E14749-63D2-4806-A482-67AFD2AB282F}"/>
              </a:ext>
            </a:extLst>
          </p:cNvPr>
          <p:cNvSpPr txBox="1">
            <a:spLocks/>
          </p:cNvSpPr>
          <p:nvPr/>
        </p:nvSpPr>
        <p:spPr>
          <a:xfrm>
            <a:off x="9223585" y="2839100"/>
            <a:ext cx="2497583" cy="1269578"/>
          </a:xfrm>
          <a:prstGeom prst="rect">
            <a:avLst/>
          </a:prstGeom>
        </p:spPr>
        <p:txBody>
          <a:bodyPr vert="horz" wrap="square" lIns="144000" tIns="0" rIns="144000" bIns="0" rtlCol="0" anchor="t">
            <a:spAutoFit/>
          </a:bodyPr>
          <a:lstStyle>
            <a:lvl1pPr marL="180000" lvl="0" indent="-180000" defTabSz="685800">
              <a:spcBef>
                <a:spcPts val="300"/>
              </a:spcBef>
              <a:buFont typeface="Arial" panose="020B0604020202020204" pitchFamily="34" charset="0"/>
              <a:buChar char="•"/>
              <a:defRPr sz="1600"/>
            </a:lvl1pPr>
            <a:lvl2pPr marL="396000" lvl="1" indent="-180000" defTabSz="685800">
              <a:spcBef>
                <a:spcPts val="300"/>
              </a:spcBef>
              <a:buFont typeface="Arial" panose="020B0604020202020204" pitchFamily="34" charset="0"/>
              <a:buChar char="•"/>
              <a:defRPr sz="1400"/>
            </a:lvl2pPr>
            <a:lvl3pPr marL="612000" lvl="2" indent="-180000" defTabSz="685800">
              <a:spcBef>
                <a:spcPts val="300"/>
              </a:spcBef>
              <a:buFont typeface="Arial" panose="020B0604020202020204" pitchFamily="34" charset="0"/>
              <a:buChar char="•"/>
              <a:defRPr sz="1200"/>
            </a:lvl3pPr>
            <a:lvl4pPr marL="828000" lvl="3" indent="-180000" defTabSz="685800">
              <a:spcBef>
                <a:spcPts val="300"/>
              </a:spcBef>
              <a:buFont typeface="Arial" panose="020B0604020202020204" pitchFamily="34" charset="0"/>
              <a:buChar char="•"/>
              <a:defRPr sz="1200"/>
            </a:lvl4pPr>
            <a:lvl5pPr marL="1044000" lvl="4" indent="-180000" defTabSz="685800">
              <a:spcBef>
                <a:spcPts val="300"/>
              </a:spcBef>
              <a:buFont typeface="Arial" panose="020B0604020202020204" pitchFamily="34" charset="0"/>
              <a:buChar char="•"/>
              <a:defRPr sz="1200"/>
            </a:lvl5pPr>
            <a:lvl6pPr marL="1885950" indent="-171450" defTabSz="685800">
              <a:spcBef>
                <a:spcPct val="20000"/>
              </a:spcBef>
              <a:buFont typeface="Arial" panose="020B0604020202020204" pitchFamily="34" charset="0"/>
              <a:buChar char="•"/>
              <a:defRPr sz="1500"/>
            </a:lvl6pPr>
            <a:lvl7pPr marL="2228850" indent="-171450" defTabSz="685800">
              <a:spcBef>
                <a:spcPct val="20000"/>
              </a:spcBef>
              <a:buFont typeface="Arial" panose="020B0604020202020204" pitchFamily="34" charset="0"/>
              <a:buChar char="•"/>
              <a:defRPr sz="1500"/>
            </a:lvl7pPr>
            <a:lvl8pPr marL="2571750" indent="-171450" defTabSz="685800">
              <a:spcBef>
                <a:spcPct val="20000"/>
              </a:spcBef>
              <a:buFont typeface="Arial" panose="020B0604020202020204" pitchFamily="34" charset="0"/>
              <a:buChar char="•"/>
              <a:defRPr sz="1500"/>
            </a:lvl8pPr>
            <a:lvl9pPr marL="2914650" indent="-171450" defTabSz="685800">
              <a:spcBef>
                <a:spcPct val="20000"/>
              </a:spcBef>
              <a:buFont typeface="Arial" panose="020B0604020202020204" pitchFamily="34" charset="0"/>
              <a:buChar char="•"/>
              <a:defRPr sz="1500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Calibri Light" panose="020F0302020204030204" pitchFamily="34" charset="0"/>
              </a:rPr>
              <a:t>Sustainable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49DE1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Calibri Light" panose="020F0302020204030204" pitchFamily="34" charset="0"/>
              </a:rPr>
              <a:t>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ExtraBold" pitchFamily="2" charset="77"/>
                <a:ea typeface="+mn-ea"/>
                <a:cs typeface="Calibri Light" panose="020F0302020204030204" pitchFamily="34" charset="0"/>
              </a:rPr>
              <a:t>Initiatives and Commitments</a:t>
            </a:r>
          </a:p>
        </p:txBody>
      </p:sp>
    </p:spTree>
    <p:extLst>
      <p:ext uri="{BB962C8B-B14F-4D97-AF65-F5344CB8AC3E}">
        <p14:creationId xmlns:p14="http://schemas.microsoft.com/office/powerpoint/2010/main" val="16976287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5F151E47-3289-9F30-895F-44FAD92AA8FE}"/>
              </a:ext>
            </a:extLst>
          </p:cNvPr>
          <p:cNvSpPr/>
          <p:nvPr/>
        </p:nvSpPr>
        <p:spPr>
          <a:xfrm>
            <a:off x="8239243" y="3952651"/>
            <a:ext cx="2353150" cy="2130895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138EEF2-FA08-F956-A7F0-713C979723D4}"/>
              </a:ext>
            </a:extLst>
          </p:cNvPr>
          <p:cNvSpPr/>
          <p:nvPr/>
        </p:nvSpPr>
        <p:spPr>
          <a:xfrm>
            <a:off x="2422011" y="3958058"/>
            <a:ext cx="2353150" cy="2457975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5C6FD8B-DEEF-2B88-43FC-6578A1D5F955}"/>
              </a:ext>
            </a:extLst>
          </p:cNvPr>
          <p:cNvSpPr/>
          <p:nvPr/>
        </p:nvSpPr>
        <p:spPr>
          <a:xfrm>
            <a:off x="6334564" y="1501631"/>
            <a:ext cx="2353150" cy="2457975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39CDD08-12C3-4656-66DB-CA178B8B2942}"/>
              </a:ext>
            </a:extLst>
          </p:cNvPr>
          <p:cNvSpPr/>
          <p:nvPr/>
        </p:nvSpPr>
        <p:spPr>
          <a:xfrm>
            <a:off x="507497" y="1502871"/>
            <a:ext cx="2353150" cy="2457975"/>
          </a:xfrm>
          <a:prstGeom prst="rect">
            <a:avLst/>
          </a:prstGeom>
          <a:solidFill>
            <a:srgbClr val="F6F8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7F3843C-0CDB-4052-E93C-4E947AED50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7F3843C-0CDB-4052-E93C-4E947AED5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7D238D21-AA8C-AFBE-20F6-1ED1F85C88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b="1" dirty="0">
                <a:latin typeface="+mn-lt"/>
              </a:rPr>
              <a:t>Key figures IN 2025</a:t>
            </a:r>
          </a:p>
        </p:txBody>
      </p:sp>
      <p:pic>
        <p:nvPicPr>
          <p:cNvPr id="12" name="Image 11" descr="Une image contenant conception&#10;&#10;Description générée automatiquement">
            <a:extLst>
              <a:ext uri="{FF2B5EF4-FFF2-40B4-BE49-F238E27FC236}">
                <a16:creationId xmlns:a16="http://schemas.microsoft.com/office/drawing/2014/main" id="{B61113D6-58EB-7E0F-0832-751D2C351F2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0244" y="1810722"/>
            <a:ext cx="1007656" cy="782719"/>
          </a:xfrm>
          <a:prstGeom prst="rect">
            <a:avLst/>
          </a:prstGeom>
        </p:spPr>
      </p:pic>
      <p:pic>
        <p:nvPicPr>
          <p:cNvPr id="13" name="Image 12" descr="Une image contenant cercle&#10;&#10;Description générée automatiquement">
            <a:extLst>
              <a:ext uri="{FF2B5EF4-FFF2-40B4-BE49-F238E27FC236}">
                <a16:creationId xmlns:a16="http://schemas.microsoft.com/office/drawing/2014/main" id="{CE534A5B-1ACD-895C-CCB8-570992D0DE1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3509" y="1797826"/>
            <a:ext cx="1188958" cy="759934"/>
          </a:xfrm>
          <a:prstGeom prst="rect">
            <a:avLst/>
          </a:prstGeom>
        </p:spPr>
      </p:pic>
      <p:pic>
        <p:nvPicPr>
          <p:cNvPr id="14" name="Image 13" descr="Une image contenant cercle, Graphique, symbole, conception&#10;&#10;Description générée automatiquement">
            <a:extLst>
              <a:ext uri="{FF2B5EF4-FFF2-40B4-BE49-F238E27FC236}">
                <a16:creationId xmlns:a16="http://schemas.microsoft.com/office/drawing/2014/main" id="{CEDEFBDB-95A6-3968-349B-2C26121507D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9810" y="1810722"/>
            <a:ext cx="759934" cy="759934"/>
          </a:xfrm>
          <a:prstGeom prst="rect">
            <a:avLst/>
          </a:prstGeom>
        </p:spPr>
      </p:pic>
      <p:pic>
        <p:nvPicPr>
          <p:cNvPr id="15" name="Image 14" descr="Une image contenant ligne, Bleu électrique, conception&#10;&#10;Description générée automatiquement">
            <a:extLst>
              <a:ext uri="{FF2B5EF4-FFF2-40B4-BE49-F238E27FC236}">
                <a16:creationId xmlns:a16="http://schemas.microsoft.com/office/drawing/2014/main" id="{C1BFADCD-9DE1-8005-B382-41B3A2FAE00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8076" y="1810722"/>
            <a:ext cx="1326124" cy="734141"/>
          </a:xfrm>
          <a:prstGeom prst="rect">
            <a:avLst/>
          </a:prstGeom>
        </p:spPr>
      </p:pic>
      <p:sp>
        <p:nvSpPr>
          <p:cNvPr id="16" name="ZoneTexte 15">
            <a:extLst>
              <a:ext uri="{FF2B5EF4-FFF2-40B4-BE49-F238E27FC236}">
                <a16:creationId xmlns:a16="http://schemas.microsoft.com/office/drawing/2014/main" id="{3A10CFB4-C970-4E65-15D3-33190679EC03}"/>
              </a:ext>
            </a:extLst>
          </p:cNvPr>
          <p:cNvSpPr txBox="1"/>
          <p:nvPr/>
        </p:nvSpPr>
        <p:spPr>
          <a:xfrm>
            <a:off x="627733" y="2909435"/>
            <a:ext cx="21242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rgbClr val="0800B9"/>
                </a:solidFill>
                <a:latin typeface="Montserrat ExtraBold" panose="00000900000000000000" pitchFamily="2" charset="0"/>
              </a:rPr>
              <a:t>2 hub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2DD3126-457B-3325-5712-CED1F451DC31}"/>
              </a:ext>
            </a:extLst>
          </p:cNvPr>
          <p:cNvSpPr txBox="1"/>
          <p:nvPr/>
        </p:nvSpPr>
        <p:spPr>
          <a:xfrm>
            <a:off x="3479653" y="2881439"/>
            <a:ext cx="212423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rgbClr val="0800B9"/>
                </a:solidFill>
                <a:latin typeface="Montserrat ExtraBold" panose="00000900000000000000" pitchFamily="2" charset="0"/>
              </a:rPr>
              <a:t>103 million passengers transported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CDCF70D4-06D3-B05E-07BE-F63EF440B0A7}"/>
              </a:ext>
            </a:extLst>
          </p:cNvPr>
          <p:cNvSpPr txBox="1"/>
          <p:nvPr/>
        </p:nvSpPr>
        <p:spPr>
          <a:xfrm>
            <a:off x="6449020" y="2883626"/>
            <a:ext cx="2124236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1400" dirty="0">
                <a:solidFill>
                  <a:srgbClr val="0800B9"/>
                </a:solidFill>
                <a:latin typeface="Montserrat ExtraBold" panose="00000900000000000000" pitchFamily="2" charset="0"/>
              </a:rPr>
              <a:t>586 aircraft</a:t>
            </a:r>
            <a:endParaRPr lang="fr-FR" dirty="0">
              <a:solidFill>
                <a:srgbClr val="051039"/>
              </a:solidFill>
              <a:latin typeface="Montserrat ExtraBold" panose="00000900000000000000" pitchFamily="2" charset="0"/>
            </a:endParaRPr>
          </a:p>
          <a:p>
            <a:pPr algn="ctr"/>
            <a:r>
              <a:rPr lang="en-US" sz="1400" dirty="0">
                <a:solidFill>
                  <a:srgbClr val="0800B9"/>
                </a:solidFill>
                <a:latin typeface="Montserrat ExtraBold" panose="00000900000000000000" pitchFamily="2" charset="0"/>
              </a:rPr>
              <a:t>in operation</a:t>
            </a:r>
            <a:endParaRPr lang="en-US" dirty="0">
              <a:solidFill>
                <a:srgbClr val="051039"/>
              </a:solidFill>
              <a:latin typeface="Montserrat ExtraBold" panose="00000900000000000000" pitchFamily="2" charset="0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489468D3-92AA-1F70-1B99-CC536AE4C28E}"/>
              </a:ext>
            </a:extLst>
          </p:cNvPr>
          <p:cNvSpPr txBox="1"/>
          <p:nvPr/>
        </p:nvSpPr>
        <p:spPr>
          <a:xfrm>
            <a:off x="9262134" y="2899810"/>
            <a:ext cx="21242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spc="-32" dirty="0">
                <a:solidFill>
                  <a:srgbClr val="0800B9"/>
                </a:solidFill>
                <a:latin typeface="Montserrat ExtraBold" panose="00000900000000000000" pitchFamily="2" charset="0"/>
              </a:rPr>
              <a:t>€489m Net Result</a:t>
            </a:r>
            <a:endParaRPr lang="en-US" sz="1400" dirty="0">
              <a:solidFill>
                <a:srgbClr val="0800B9"/>
              </a:solidFill>
              <a:latin typeface="Montserrat ExtraBold" panose="00000900000000000000" pitchFamily="2" charset="0"/>
            </a:endParaRP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AA760E0E-6DE9-F6F5-A652-B568360AA5B2}"/>
              </a:ext>
            </a:extLst>
          </p:cNvPr>
          <p:cNvSpPr txBox="1"/>
          <p:nvPr/>
        </p:nvSpPr>
        <p:spPr>
          <a:xfrm>
            <a:off x="2532414" y="5367410"/>
            <a:ext cx="2124236" cy="7925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rgbClr val="0800B9"/>
                </a:solidFill>
                <a:latin typeface="Montserrat ExtraBold" panose="00000900000000000000" pitchFamily="2" charset="0"/>
              </a:rPr>
              <a:t>3 main activities</a:t>
            </a:r>
          </a:p>
          <a:p>
            <a:pPr marL="36000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0800B9"/>
                </a:solidFill>
              </a:rPr>
              <a:t>Passenger transport</a:t>
            </a:r>
          </a:p>
          <a:p>
            <a:pPr marL="36000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0800B9"/>
                </a:solidFill>
              </a:rPr>
              <a:t>Cargo</a:t>
            </a:r>
          </a:p>
          <a:p>
            <a:pPr marL="36000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0800B9"/>
                </a:solidFill>
              </a:rPr>
              <a:t>Aircraft Maintenance</a:t>
            </a:r>
          </a:p>
        </p:txBody>
      </p:sp>
      <p:pic>
        <p:nvPicPr>
          <p:cNvPr id="25" name="Image 24" descr="Une image contenant cercle, conception&#10;&#10;Description générée automatiquement">
            <a:extLst>
              <a:ext uri="{FF2B5EF4-FFF2-40B4-BE49-F238E27FC236}">
                <a16:creationId xmlns:a16="http://schemas.microsoft.com/office/drawing/2014/main" id="{BC0D8878-D506-393C-DD3C-CB8F9D1397FB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2064" y="4213396"/>
            <a:ext cx="1113376" cy="901465"/>
          </a:xfrm>
          <a:prstGeom prst="rect">
            <a:avLst/>
          </a:prstGeom>
        </p:spPr>
      </p:pic>
      <p:sp>
        <p:nvSpPr>
          <p:cNvPr id="28" name="ZoneTexte 27">
            <a:extLst>
              <a:ext uri="{FF2B5EF4-FFF2-40B4-BE49-F238E27FC236}">
                <a16:creationId xmlns:a16="http://schemas.microsoft.com/office/drawing/2014/main" id="{F2B6CC73-DEF1-7348-5F13-A8B0FECBD7E4}"/>
              </a:ext>
            </a:extLst>
          </p:cNvPr>
          <p:cNvSpPr txBox="1"/>
          <p:nvPr/>
        </p:nvSpPr>
        <p:spPr>
          <a:xfrm>
            <a:off x="8359481" y="5368651"/>
            <a:ext cx="2124236" cy="4693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rgbClr val="0800B9"/>
                </a:solidFill>
                <a:latin typeface="Montserrat ExtraBold" panose="00000900000000000000" pitchFamily="2" charset="0"/>
              </a:rPr>
              <a:t>320+ destinations</a:t>
            </a:r>
          </a:p>
          <a:p>
            <a:pPr algn="ctr"/>
            <a:r>
              <a:rPr lang="en-US" sz="1000" dirty="0">
                <a:solidFill>
                  <a:srgbClr val="0800B9"/>
                </a:solidFill>
              </a:rPr>
              <a:t>In 100+ countries</a:t>
            </a:r>
            <a:endParaRPr lang="en-US" sz="700" dirty="0">
              <a:solidFill>
                <a:srgbClr val="0800B9"/>
              </a:solidFill>
            </a:endParaRP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8C6F01DD-8839-BA62-B62B-117889B85829}"/>
              </a:ext>
            </a:extLst>
          </p:cNvPr>
          <p:cNvSpPr txBox="1"/>
          <p:nvPr/>
        </p:nvSpPr>
        <p:spPr>
          <a:xfrm>
            <a:off x="5500476" y="5367455"/>
            <a:ext cx="2124236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rgbClr val="0800B9"/>
                </a:solidFill>
                <a:latin typeface="Montserrat ExtraBold" panose="00000900000000000000" pitchFamily="2" charset="0"/>
              </a:rPr>
              <a:t>30+ million</a:t>
            </a:r>
          </a:p>
          <a:p>
            <a:pPr algn="ctr"/>
            <a:r>
              <a:rPr lang="en-US" sz="1000" dirty="0">
                <a:solidFill>
                  <a:srgbClr val="0800B9"/>
                </a:solidFill>
              </a:rPr>
              <a:t>Flying Blue</a:t>
            </a:r>
          </a:p>
          <a:p>
            <a:pPr algn="ctr"/>
            <a:r>
              <a:rPr lang="en-US" sz="1000" dirty="0">
                <a:solidFill>
                  <a:srgbClr val="0800B9"/>
                </a:solidFill>
              </a:rPr>
              <a:t>loyalty program members</a:t>
            </a:r>
          </a:p>
        </p:txBody>
      </p:sp>
      <p:sp>
        <p:nvSpPr>
          <p:cNvPr id="34" name="Freeform 17">
            <a:extLst>
              <a:ext uri="{FF2B5EF4-FFF2-40B4-BE49-F238E27FC236}">
                <a16:creationId xmlns:a16="http://schemas.microsoft.com/office/drawing/2014/main" id="{C7545415-15CD-9EB0-7C6D-3AE528D6A133}"/>
              </a:ext>
            </a:extLst>
          </p:cNvPr>
          <p:cNvSpPr/>
          <p:nvPr/>
        </p:nvSpPr>
        <p:spPr>
          <a:xfrm>
            <a:off x="6191854" y="4374327"/>
            <a:ext cx="736422" cy="736422"/>
          </a:xfrm>
          <a:custGeom>
            <a:avLst/>
            <a:gdLst/>
            <a:ahLst/>
            <a:cxnLst/>
            <a:rect l="l" t="t" r="r" b="b"/>
            <a:pathLst>
              <a:path w="1835624" h="1835624">
                <a:moveTo>
                  <a:pt x="0" y="0"/>
                </a:moveTo>
                <a:lnTo>
                  <a:pt x="1835624" y="0"/>
                </a:lnTo>
                <a:lnTo>
                  <a:pt x="1835624" y="1835624"/>
                </a:lnTo>
                <a:lnTo>
                  <a:pt x="0" y="1835624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pic>
        <p:nvPicPr>
          <p:cNvPr id="35" name="Image 34" descr="Une image contenant cercle, conception&#10;&#10;Description générée automatiquement">
            <a:extLst>
              <a:ext uri="{FF2B5EF4-FFF2-40B4-BE49-F238E27FC236}">
                <a16:creationId xmlns:a16="http://schemas.microsoft.com/office/drawing/2014/main" id="{CB9ED906-1007-40A1-FAB2-50C49D99A641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5086" y="4213396"/>
            <a:ext cx="901465" cy="901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2049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" name="think-cell data - do not delete" hidden="1">
            <a:extLst>
              <a:ext uri="{FF2B5EF4-FFF2-40B4-BE49-F238E27FC236}">
                <a16:creationId xmlns:a16="http://schemas.microsoft.com/office/drawing/2014/main" id="{D2F8EF3C-30EA-3102-4E52-34114D6E0E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7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F8EF3C-30EA-3102-4E52-34114D6E0E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ZoneTexte 35">
            <a:extLst>
              <a:ext uri="{FF2B5EF4-FFF2-40B4-BE49-F238E27FC236}">
                <a16:creationId xmlns:a16="http://schemas.microsoft.com/office/drawing/2014/main" id="{43E36F4C-B375-DAD0-8FEE-2C15DFE19B40}"/>
              </a:ext>
            </a:extLst>
          </p:cNvPr>
          <p:cNvSpPr txBox="1"/>
          <p:nvPr/>
        </p:nvSpPr>
        <p:spPr>
          <a:xfrm>
            <a:off x="1419303" y="5333451"/>
            <a:ext cx="16009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ice sensitive leisure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39" name="Picture 8" descr="Economy">
            <a:extLst>
              <a:ext uri="{FF2B5EF4-FFF2-40B4-BE49-F238E27FC236}">
                <a16:creationId xmlns:a16="http://schemas.microsoft.com/office/drawing/2014/main" id="{82E771B7-EA63-FE4D-56B9-1C9DEE4CA5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70457" y="5849982"/>
            <a:ext cx="698686" cy="67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ZoneTexte 67">
            <a:extLst>
              <a:ext uri="{FF2B5EF4-FFF2-40B4-BE49-F238E27FC236}">
                <a16:creationId xmlns:a16="http://schemas.microsoft.com/office/drawing/2014/main" id="{4D1D2BEF-50E6-7767-F89F-F9FE1413726F}"/>
              </a:ext>
            </a:extLst>
          </p:cNvPr>
          <p:cNvSpPr txBox="1"/>
          <p:nvPr/>
        </p:nvSpPr>
        <p:spPr>
          <a:xfrm>
            <a:off x="1569090" y="5931830"/>
            <a:ext cx="1301420" cy="217674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9EE3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conomy</a:t>
            </a:r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009EE3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cxnSp>
        <p:nvCxnSpPr>
          <p:cNvPr id="21" name="Connecteur droit avec flèche 20">
            <a:extLst>
              <a:ext uri="{FF2B5EF4-FFF2-40B4-BE49-F238E27FC236}">
                <a16:creationId xmlns:a16="http://schemas.microsoft.com/office/drawing/2014/main" id="{FEEAFBD6-5787-89BC-8E11-C53B706EDB7D}"/>
              </a:ext>
            </a:extLst>
          </p:cNvPr>
          <p:cNvCxnSpPr>
            <a:cxnSpLocks/>
          </p:cNvCxnSpPr>
          <p:nvPr/>
        </p:nvCxnSpPr>
        <p:spPr>
          <a:xfrm>
            <a:off x="1419303" y="5322685"/>
            <a:ext cx="896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58C77852-BC63-AF36-C7F9-53E977E0F8AC}"/>
              </a:ext>
            </a:extLst>
          </p:cNvPr>
          <p:cNvSpPr/>
          <p:nvPr/>
        </p:nvSpPr>
        <p:spPr>
          <a:xfrm>
            <a:off x="1238251" y="2015066"/>
            <a:ext cx="8904940" cy="382032"/>
          </a:xfrm>
          <a:prstGeom prst="rect">
            <a:avLst/>
          </a:prstGeom>
          <a:gradFill>
            <a:gsLst>
              <a:gs pos="7000">
                <a:srgbClr val="002060">
                  <a:alpha val="0"/>
                </a:srgbClr>
              </a:gs>
              <a:gs pos="69000">
                <a:srgbClr val="00206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521E3B5-1B53-B8B1-A5B1-AAFB330DFB11}"/>
              </a:ext>
            </a:extLst>
          </p:cNvPr>
          <p:cNvSpPr/>
          <p:nvPr/>
        </p:nvSpPr>
        <p:spPr>
          <a:xfrm>
            <a:off x="1419304" y="2676590"/>
            <a:ext cx="8904939" cy="382032"/>
          </a:xfrm>
          <a:prstGeom prst="rect">
            <a:avLst/>
          </a:prstGeom>
          <a:gradFill>
            <a:gsLst>
              <a:gs pos="32000">
                <a:srgbClr val="00A1E4"/>
              </a:gs>
              <a:gs pos="6000">
                <a:srgbClr val="00A1E4">
                  <a:alpha val="0"/>
                </a:srgbClr>
              </a:gs>
              <a:gs pos="87000">
                <a:srgbClr val="00A1E4">
                  <a:alpha val="0"/>
                </a:srgbClr>
              </a:gs>
              <a:gs pos="74000">
                <a:srgbClr val="00A1E4"/>
              </a:gs>
              <a:gs pos="50000">
                <a:srgbClr val="00A1E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20FE2A7-C31E-0036-B698-A5CEA9C90B02}"/>
              </a:ext>
            </a:extLst>
          </p:cNvPr>
          <p:cNvSpPr/>
          <p:nvPr/>
        </p:nvSpPr>
        <p:spPr>
          <a:xfrm>
            <a:off x="1419305" y="4661162"/>
            <a:ext cx="3988679" cy="382032"/>
          </a:xfrm>
          <a:prstGeom prst="rect">
            <a:avLst/>
          </a:prstGeom>
          <a:gradFill>
            <a:gsLst>
              <a:gs pos="26000">
                <a:srgbClr val="00CB78"/>
              </a:gs>
              <a:gs pos="0">
                <a:srgbClr val="00CB78"/>
              </a:gs>
              <a:gs pos="90000">
                <a:srgbClr val="00CB78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85E98C5-373C-3BC1-44B7-6D653A364F41}"/>
              </a:ext>
            </a:extLst>
          </p:cNvPr>
          <p:cNvSpPr/>
          <p:nvPr/>
        </p:nvSpPr>
        <p:spPr>
          <a:xfrm>
            <a:off x="1556657" y="3999637"/>
            <a:ext cx="8654143" cy="398183"/>
          </a:xfrm>
          <a:prstGeom prst="rect">
            <a:avLst/>
          </a:prstGeom>
          <a:gradFill>
            <a:gsLst>
              <a:gs pos="57000">
                <a:srgbClr val="00A1E4"/>
              </a:gs>
              <a:gs pos="4000">
                <a:srgbClr val="00A1E4">
                  <a:alpha val="0"/>
                </a:srgbClr>
              </a:gs>
              <a:gs pos="82000">
                <a:srgbClr val="00A1E4">
                  <a:alpha val="0"/>
                </a:srgbClr>
              </a:gs>
              <a:gs pos="74000">
                <a:srgbClr val="00A1E4"/>
              </a:gs>
              <a:gs pos="50000">
                <a:srgbClr val="00A1E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E74F91C-1513-35FF-DF46-E8CD812771C6}"/>
              </a:ext>
            </a:extLst>
          </p:cNvPr>
          <p:cNvSpPr/>
          <p:nvPr/>
        </p:nvSpPr>
        <p:spPr>
          <a:xfrm>
            <a:off x="1419305" y="3338114"/>
            <a:ext cx="8600352" cy="382032"/>
          </a:xfrm>
          <a:prstGeom prst="rect">
            <a:avLst/>
          </a:prstGeom>
          <a:gradFill>
            <a:gsLst>
              <a:gs pos="42000">
                <a:srgbClr val="002060"/>
              </a:gs>
              <a:gs pos="6000">
                <a:srgbClr val="002060">
                  <a:alpha val="0"/>
                </a:srgbClr>
              </a:gs>
              <a:gs pos="84000">
                <a:srgbClr val="002060">
                  <a:alpha val="0"/>
                </a:srgbClr>
              </a:gs>
              <a:gs pos="74000">
                <a:srgbClr val="002060"/>
              </a:gs>
              <a:gs pos="50000">
                <a:srgbClr val="00206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47" name="Picture 89">
            <a:extLst>
              <a:ext uri="{FF2B5EF4-FFF2-40B4-BE49-F238E27FC236}">
                <a16:creationId xmlns:a16="http://schemas.microsoft.com/office/drawing/2014/main" id="{43489401-6776-05A8-E659-6B26A20BAEC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7287" y="3161967"/>
            <a:ext cx="397368" cy="238421"/>
          </a:xfrm>
          <a:prstGeom prst="rect">
            <a:avLst/>
          </a:prstGeom>
        </p:spPr>
      </p:pic>
      <p:pic>
        <p:nvPicPr>
          <p:cNvPr id="48" name="Picture 155">
            <a:extLst>
              <a:ext uri="{FF2B5EF4-FFF2-40B4-BE49-F238E27FC236}">
                <a16:creationId xmlns:a16="http://schemas.microsoft.com/office/drawing/2014/main" id="{DB897BCB-58CD-9F12-AE20-18A109ED1C6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8488" y="2404967"/>
            <a:ext cx="1014967" cy="96739"/>
          </a:xfrm>
          <a:prstGeom prst="rect">
            <a:avLst/>
          </a:prstGeom>
        </p:spPr>
      </p:pic>
      <p:sp>
        <p:nvSpPr>
          <p:cNvPr id="50" name="ZoneTexte 49">
            <a:extLst>
              <a:ext uri="{FF2B5EF4-FFF2-40B4-BE49-F238E27FC236}">
                <a16:creationId xmlns:a16="http://schemas.microsoft.com/office/drawing/2014/main" id="{7CE09D0B-FA3D-C3DC-D2D5-79FB589E07F8}"/>
              </a:ext>
            </a:extLst>
          </p:cNvPr>
          <p:cNvSpPr txBox="1"/>
          <p:nvPr/>
        </p:nvSpPr>
        <p:spPr>
          <a:xfrm>
            <a:off x="624133" y="3338114"/>
            <a:ext cx="762592" cy="1705079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HORT &amp; MEDIUM-HAUL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C73D06EB-282E-951E-39AB-C8941EF9316D}"/>
              </a:ext>
            </a:extLst>
          </p:cNvPr>
          <p:cNvCxnSpPr>
            <a:cxnSpLocks/>
          </p:cNvCxnSpPr>
          <p:nvPr/>
        </p:nvCxnSpPr>
        <p:spPr>
          <a:xfrm>
            <a:off x="658799" y="3198368"/>
            <a:ext cx="972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ZoneTexte 52">
            <a:extLst>
              <a:ext uri="{FF2B5EF4-FFF2-40B4-BE49-F238E27FC236}">
                <a16:creationId xmlns:a16="http://schemas.microsoft.com/office/drawing/2014/main" id="{55A5F556-5AB2-0CB2-3974-70A446E4A26E}"/>
              </a:ext>
            </a:extLst>
          </p:cNvPr>
          <p:cNvSpPr txBox="1"/>
          <p:nvPr/>
        </p:nvSpPr>
        <p:spPr>
          <a:xfrm>
            <a:off x="624133" y="2015066"/>
            <a:ext cx="762592" cy="1043555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ONG-HAUL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64BFC5F3-94AC-8D36-E210-FB24EC90D49F}"/>
              </a:ext>
            </a:extLst>
          </p:cNvPr>
          <p:cNvSpPr txBox="1"/>
          <p:nvPr/>
        </p:nvSpPr>
        <p:spPr>
          <a:xfrm>
            <a:off x="2305065" y="2015066"/>
            <a:ext cx="7581871" cy="38203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aris Global Gateway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8" name="ZoneTexte 57">
            <a:extLst>
              <a:ext uri="{FF2B5EF4-FFF2-40B4-BE49-F238E27FC236}">
                <a16:creationId xmlns:a16="http://schemas.microsoft.com/office/drawing/2014/main" id="{2EE2EA80-F872-4E7E-D76B-CBDA7C5FD107}"/>
              </a:ext>
            </a:extLst>
          </p:cNvPr>
          <p:cNvSpPr txBox="1"/>
          <p:nvPr/>
        </p:nvSpPr>
        <p:spPr>
          <a:xfrm>
            <a:off x="3020297" y="2676590"/>
            <a:ext cx="5956936" cy="38203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msterdam as Global Hub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9" name="ZoneTexte 58">
            <a:extLst>
              <a:ext uri="{FF2B5EF4-FFF2-40B4-BE49-F238E27FC236}">
                <a16:creationId xmlns:a16="http://schemas.microsoft.com/office/drawing/2014/main" id="{163BC988-0F61-A722-A990-749652B7292C}"/>
              </a:ext>
            </a:extLst>
          </p:cNvPr>
          <p:cNvSpPr txBox="1"/>
          <p:nvPr/>
        </p:nvSpPr>
        <p:spPr>
          <a:xfrm>
            <a:off x="3353455" y="3338114"/>
            <a:ext cx="5419737" cy="38203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nnection to Paris and hub feeding</a:t>
            </a:r>
          </a:p>
        </p:txBody>
      </p:sp>
      <p:sp>
        <p:nvSpPr>
          <p:cNvPr id="60" name="ZoneTexte 59">
            <a:extLst>
              <a:ext uri="{FF2B5EF4-FFF2-40B4-BE49-F238E27FC236}">
                <a16:creationId xmlns:a16="http://schemas.microsoft.com/office/drawing/2014/main" id="{14E9EA51-757E-C929-9DF2-9F690611898E}"/>
              </a:ext>
            </a:extLst>
          </p:cNvPr>
          <p:cNvSpPr txBox="1"/>
          <p:nvPr/>
        </p:nvSpPr>
        <p:spPr>
          <a:xfrm>
            <a:off x="4233334" y="3999638"/>
            <a:ext cx="4139142" cy="38203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Hub feeding and corporate point-to-point traffic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1" name="ZoneTexte 60">
            <a:extLst>
              <a:ext uri="{FF2B5EF4-FFF2-40B4-BE49-F238E27FC236}">
                <a16:creationId xmlns:a16="http://schemas.microsoft.com/office/drawing/2014/main" id="{CAA1685F-1615-B115-5D47-9FFC9A587CA3}"/>
              </a:ext>
            </a:extLst>
          </p:cNvPr>
          <p:cNvSpPr txBox="1"/>
          <p:nvPr/>
        </p:nvSpPr>
        <p:spPr>
          <a:xfrm>
            <a:off x="1368503" y="4661162"/>
            <a:ext cx="3085763" cy="38203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Hybrid leisure and corporate low-cost 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1026" name="Picture 2" descr="Flying Blue logo">
            <a:extLst>
              <a:ext uri="{FF2B5EF4-FFF2-40B4-BE49-F238E27FC236}">
                <a16:creationId xmlns:a16="http://schemas.microsoft.com/office/drawing/2014/main" id="{34669C7C-8A62-06AA-FE37-182FD9DFA3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30509" y="4877682"/>
            <a:ext cx="870925" cy="188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70A4FE0D-B949-4EE2-C3EE-B7B72E87E608}"/>
              </a:ext>
            </a:extLst>
          </p:cNvPr>
          <p:cNvCxnSpPr>
            <a:cxnSpLocks/>
          </p:cNvCxnSpPr>
          <p:nvPr/>
        </p:nvCxnSpPr>
        <p:spPr>
          <a:xfrm>
            <a:off x="10715971" y="1975526"/>
            <a:ext cx="90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55">
            <a:extLst>
              <a:ext uri="{FF2B5EF4-FFF2-40B4-BE49-F238E27FC236}">
                <a16:creationId xmlns:a16="http://schemas.microsoft.com/office/drawing/2014/main" id="{B82B97D0-12D1-4F83-5389-1AB8F1465BA5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5064" y="2163917"/>
            <a:ext cx="884781" cy="84331"/>
          </a:xfrm>
          <a:prstGeom prst="rect">
            <a:avLst/>
          </a:prstGeom>
        </p:spPr>
      </p:pic>
      <p:pic>
        <p:nvPicPr>
          <p:cNvPr id="9" name="Picture 89">
            <a:extLst>
              <a:ext uri="{FF2B5EF4-FFF2-40B4-BE49-F238E27FC236}">
                <a16:creationId xmlns:a16="http://schemas.microsoft.com/office/drawing/2014/main" id="{017006BC-EEF1-4232-9DED-8138DA602099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5360" y="2753720"/>
            <a:ext cx="379621" cy="227773"/>
          </a:xfrm>
          <a:prstGeom prst="rect">
            <a:avLst/>
          </a:prstGeom>
        </p:spPr>
      </p:pic>
      <p:pic>
        <p:nvPicPr>
          <p:cNvPr id="10" name="Picture 155">
            <a:extLst>
              <a:ext uri="{FF2B5EF4-FFF2-40B4-BE49-F238E27FC236}">
                <a16:creationId xmlns:a16="http://schemas.microsoft.com/office/drawing/2014/main" id="{8D42C03F-AFC9-8B31-890A-273ECEE1B27A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5948" y="3486965"/>
            <a:ext cx="884781" cy="84331"/>
          </a:xfrm>
          <a:prstGeom prst="rect">
            <a:avLst/>
          </a:prstGeom>
        </p:spPr>
      </p:pic>
      <p:pic>
        <p:nvPicPr>
          <p:cNvPr id="11" name="Picture 89">
            <a:extLst>
              <a:ext uri="{FF2B5EF4-FFF2-40B4-BE49-F238E27FC236}">
                <a16:creationId xmlns:a16="http://schemas.microsoft.com/office/drawing/2014/main" id="{26DC6E2F-083F-930E-674D-6B2CA68A1ABE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5360" y="4084842"/>
            <a:ext cx="379621" cy="227773"/>
          </a:xfrm>
          <a:prstGeom prst="rect">
            <a:avLst/>
          </a:prstGeom>
        </p:spPr>
      </p:pic>
      <p:sp>
        <p:nvSpPr>
          <p:cNvPr id="29" name="ZoneTexte 28">
            <a:extLst>
              <a:ext uri="{FF2B5EF4-FFF2-40B4-BE49-F238E27FC236}">
                <a16:creationId xmlns:a16="http://schemas.microsoft.com/office/drawing/2014/main" id="{366B6FEC-F5AA-065E-0C76-A963860D7F31}"/>
              </a:ext>
            </a:extLst>
          </p:cNvPr>
          <p:cNvSpPr txBox="1"/>
          <p:nvPr/>
        </p:nvSpPr>
        <p:spPr>
          <a:xfrm>
            <a:off x="8905649" y="5333451"/>
            <a:ext cx="16009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uxury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E9697E1B-7D3A-E7BF-9859-67912F7DF2ED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69102" y="5849982"/>
            <a:ext cx="874088" cy="78379"/>
          </a:xfrm>
          <a:prstGeom prst="rect">
            <a:avLst/>
          </a:prstGeom>
        </p:spPr>
      </p:pic>
      <p:sp>
        <p:nvSpPr>
          <p:cNvPr id="33" name="ZoneTexte 32">
            <a:extLst>
              <a:ext uri="{FF2B5EF4-FFF2-40B4-BE49-F238E27FC236}">
                <a16:creationId xmlns:a16="http://schemas.microsoft.com/office/drawing/2014/main" id="{64BA6CC1-F669-FFB0-904B-AF08427F8461}"/>
              </a:ext>
            </a:extLst>
          </p:cNvPr>
          <p:cNvSpPr txBox="1"/>
          <p:nvPr/>
        </p:nvSpPr>
        <p:spPr>
          <a:xfrm>
            <a:off x="7034061" y="5333451"/>
            <a:ext cx="16009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emiu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rporate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1028" name="Picture 4" descr="Business">
            <a:extLst>
              <a:ext uri="{FF2B5EF4-FFF2-40B4-BE49-F238E27FC236}">
                <a16:creationId xmlns:a16="http://schemas.microsoft.com/office/drawing/2014/main" id="{B77DE77F-FBA9-15FB-BAF5-501CC5FA1E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85215" y="5849982"/>
            <a:ext cx="698686" cy="6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ZoneTexte 61">
            <a:extLst>
              <a:ext uri="{FF2B5EF4-FFF2-40B4-BE49-F238E27FC236}">
                <a16:creationId xmlns:a16="http://schemas.microsoft.com/office/drawing/2014/main" id="{5C809B64-F857-1198-D771-CE4AE0E26FB8}"/>
              </a:ext>
            </a:extLst>
          </p:cNvPr>
          <p:cNvSpPr txBox="1"/>
          <p:nvPr/>
        </p:nvSpPr>
        <p:spPr>
          <a:xfrm>
            <a:off x="7183848" y="6119406"/>
            <a:ext cx="1301420" cy="217674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9EE3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orld Business Class</a:t>
            </a:r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009EE3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6" name="ZoneTexte 65">
            <a:extLst>
              <a:ext uri="{FF2B5EF4-FFF2-40B4-BE49-F238E27FC236}">
                <a16:creationId xmlns:a16="http://schemas.microsoft.com/office/drawing/2014/main" id="{9F4D55EE-9A88-86E5-E91F-3BE8A54EF1C7}"/>
              </a:ext>
            </a:extLst>
          </p:cNvPr>
          <p:cNvSpPr txBox="1"/>
          <p:nvPr/>
        </p:nvSpPr>
        <p:spPr>
          <a:xfrm>
            <a:off x="7183848" y="6315448"/>
            <a:ext cx="1301420" cy="217674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9EE3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emium Comfort</a:t>
            </a:r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009EE3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3F5C607E-424B-ED6F-7B86-0784218CCCD6}"/>
              </a:ext>
            </a:extLst>
          </p:cNvPr>
          <p:cNvSpPr txBox="1"/>
          <p:nvPr/>
        </p:nvSpPr>
        <p:spPr>
          <a:xfrm>
            <a:off x="5162475" y="5333451"/>
            <a:ext cx="16009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emiu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eisure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26" name="Picture 4" descr="Business">
            <a:extLst>
              <a:ext uri="{FF2B5EF4-FFF2-40B4-BE49-F238E27FC236}">
                <a16:creationId xmlns:a16="http://schemas.microsoft.com/office/drawing/2014/main" id="{3DC1D066-8A57-C0D5-1A65-AEBD3C6E5A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13629" y="5849982"/>
            <a:ext cx="698686" cy="6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ZoneTexte 55">
            <a:extLst>
              <a:ext uri="{FF2B5EF4-FFF2-40B4-BE49-F238E27FC236}">
                <a16:creationId xmlns:a16="http://schemas.microsoft.com/office/drawing/2014/main" id="{46A19CE6-080E-89E5-26B7-1F8030E1C731}"/>
              </a:ext>
            </a:extLst>
          </p:cNvPr>
          <p:cNvSpPr txBox="1"/>
          <p:nvPr/>
        </p:nvSpPr>
        <p:spPr>
          <a:xfrm>
            <a:off x="5312262" y="6119406"/>
            <a:ext cx="1301420" cy="217674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9EE3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orld Business Class</a:t>
            </a:r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009EE3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5" name="ZoneTexte 64">
            <a:extLst>
              <a:ext uri="{FF2B5EF4-FFF2-40B4-BE49-F238E27FC236}">
                <a16:creationId xmlns:a16="http://schemas.microsoft.com/office/drawing/2014/main" id="{3446D1C6-BE12-8BCE-094A-B6906CAB0B5E}"/>
              </a:ext>
            </a:extLst>
          </p:cNvPr>
          <p:cNvSpPr txBox="1"/>
          <p:nvPr/>
        </p:nvSpPr>
        <p:spPr>
          <a:xfrm>
            <a:off x="5312262" y="6315448"/>
            <a:ext cx="1301420" cy="217674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9EE3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emium Comfort</a:t>
            </a:r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009EE3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grpSp>
        <p:nvGrpSpPr>
          <p:cNvPr id="84" name="Groupe 83">
            <a:extLst>
              <a:ext uri="{FF2B5EF4-FFF2-40B4-BE49-F238E27FC236}">
                <a16:creationId xmlns:a16="http://schemas.microsoft.com/office/drawing/2014/main" id="{9E0A1149-43BB-2E04-FD62-1E1A04E36B80}"/>
              </a:ext>
            </a:extLst>
          </p:cNvPr>
          <p:cNvGrpSpPr/>
          <p:nvPr/>
        </p:nvGrpSpPr>
        <p:grpSpPr>
          <a:xfrm>
            <a:off x="3290889" y="5333451"/>
            <a:ext cx="1600994" cy="816053"/>
            <a:chOff x="3353454" y="5333451"/>
            <a:chExt cx="1600994" cy="816053"/>
          </a:xfrm>
        </p:grpSpPr>
        <p:sp>
          <p:nvSpPr>
            <p:cNvPr id="35" name="ZoneTexte 34">
              <a:extLst>
                <a:ext uri="{FF2B5EF4-FFF2-40B4-BE49-F238E27FC236}">
                  <a16:creationId xmlns:a16="http://schemas.microsoft.com/office/drawing/2014/main" id="{829E8E36-32FA-F223-221A-FAAC84C7C0CD}"/>
                </a:ext>
              </a:extLst>
            </p:cNvPr>
            <p:cNvSpPr txBox="1"/>
            <p:nvPr/>
          </p:nvSpPr>
          <p:spPr>
            <a:xfrm>
              <a:off x="3353454" y="5333451"/>
              <a:ext cx="160099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Price sensitiv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corporate</a:t>
              </a: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pic>
          <p:nvPicPr>
            <p:cNvPr id="1032" name="Picture 8" descr="Economy">
              <a:extLst>
                <a:ext uri="{FF2B5EF4-FFF2-40B4-BE49-F238E27FC236}">
                  <a16:creationId xmlns:a16="http://schemas.microsoft.com/office/drawing/2014/main" id="{75F2B99D-5D14-6FD0-9DB5-36D9E0524EC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804608" y="5849982"/>
              <a:ext cx="698686" cy="67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9" name="ZoneTexte 68">
              <a:extLst>
                <a:ext uri="{FF2B5EF4-FFF2-40B4-BE49-F238E27FC236}">
                  <a16:creationId xmlns:a16="http://schemas.microsoft.com/office/drawing/2014/main" id="{E12C9A37-F2EC-5C65-7B12-BF8FE921676C}"/>
                </a:ext>
              </a:extLst>
            </p:cNvPr>
            <p:cNvSpPr txBox="1"/>
            <p:nvPr/>
          </p:nvSpPr>
          <p:spPr>
            <a:xfrm>
              <a:off x="3503241" y="5931830"/>
              <a:ext cx="1301420" cy="217674"/>
            </a:xfrm>
            <a:prstGeom prst="rect">
              <a:avLst/>
            </a:prstGeom>
            <a:noFill/>
          </p:spPr>
          <p:txBody>
            <a:bodyPr wrap="square" lIns="0" r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9EE3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Economy</a:t>
              </a:r>
              <a:endPara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009EE3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sp>
        <p:nvSpPr>
          <p:cNvPr id="86" name="ZoneTexte 85">
            <a:extLst>
              <a:ext uri="{FF2B5EF4-FFF2-40B4-BE49-F238E27FC236}">
                <a16:creationId xmlns:a16="http://schemas.microsoft.com/office/drawing/2014/main" id="{E1AC1151-F6B4-7A5D-6236-AF611632FD44}"/>
              </a:ext>
            </a:extLst>
          </p:cNvPr>
          <p:cNvSpPr txBox="1"/>
          <p:nvPr/>
        </p:nvSpPr>
        <p:spPr>
          <a:xfrm>
            <a:off x="10406612" y="1529830"/>
            <a:ext cx="1518718" cy="445696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800B9">
                    <a:lumMod val="5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UNIQUE BRAND PORTFOLIO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srgbClr val="0800B9">
                  <a:lumMod val="50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E98E09BB-8513-9551-C2EC-B36FA2AA8B30}"/>
              </a:ext>
            </a:extLst>
          </p:cNvPr>
          <p:cNvGrpSpPr/>
          <p:nvPr/>
        </p:nvGrpSpPr>
        <p:grpSpPr>
          <a:xfrm>
            <a:off x="5635057" y="5991158"/>
            <a:ext cx="655829" cy="98418"/>
            <a:chOff x="4545428" y="5437195"/>
            <a:chExt cx="655829" cy="98418"/>
          </a:xfrm>
        </p:grpSpPr>
        <p:pic>
          <p:nvPicPr>
            <p:cNvPr id="5" name="Picture 6" descr="Premium Economy">
              <a:extLst>
                <a:ext uri="{FF2B5EF4-FFF2-40B4-BE49-F238E27FC236}">
                  <a16:creationId xmlns:a16="http://schemas.microsoft.com/office/drawing/2014/main" id="{3AC1B5B7-0FF3-ACE8-C080-B46770D526A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545428" y="5448973"/>
              <a:ext cx="563147" cy="866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6" descr="Premium Economy">
              <a:extLst>
                <a:ext uri="{FF2B5EF4-FFF2-40B4-BE49-F238E27FC236}">
                  <a16:creationId xmlns:a16="http://schemas.microsoft.com/office/drawing/2014/main" id="{C672A0E0-0775-BB25-43E0-E32730EE65E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6672" t="-11128" b="-1"/>
            <a:stretch/>
          </p:blipFill>
          <p:spPr bwMode="auto">
            <a:xfrm>
              <a:off x="5110336" y="5437195"/>
              <a:ext cx="90921" cy="9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id="{2720B728-5D99-D70E-CD80-B0B95FD22063}"/>
              </a:ext>
            </a:extLst>
          </p:cNvPr>
          <p:cNvGrpSpPr/>
          <p:nvPr/>
        </p:nvGrpSpPr>
        <p:grpSpPr>
          <a:xfrm>
            <a:off x="7515716" y="5977935"/>
            <a:ext cx="655829" cy="98418"/>
            <a:chOff x="4545428" y="5437195"/>
            <a:chExt cx="655829" cy="98418"/>
          </a:xfrm>
        </p:grpSpPr>
        <p:pic>
          <p:nvPicPr>
            <p:cNvPr id="13" name="Picture 6" descr="Premium Economy">
              <a:extLst>
                <a:ext uri="{FF2B5EF4-FFF2-40B4-BE49-F238E27FC236}">
                  <a16:creationId xmlns:a16="http://schemas.microsoft.com/office/drawing/2014/main" id="{C1AA52DF-C144-CDA3-3241-6E499F9CF32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545428" y="5448973"/>
              <a:ext cx="563147" cy="866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6" descr="Premium Economy">
              <a:extLst>
                <a:ext uri="{FF2B5EF4-FFF2-40B4-BE49-F238E27FC236}">
                  <a16:creationId xmlns:a16="http://schemas.microsoft.com/office/drawing/2014/main" id="{3A0E32C8-F472-1DDC-E1DB-0ECA6F7CC09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6672" t="-11128" b="-1"/>
            <a:stretch/>
          </p:blipFill>
          <p:spPr bwMode="auto">
            <a:xfrm>
              <a:off x="5110336" y="5437195"/>
              <a:ext cx="90921" cy="9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6" name="Image 15" descr="Une image contenant texte, Police, logo, Graphique&#10;&#10;Le contenu généré par l’IA peut être incorrect.">
            <a:extLst>
              <a:ext uri="{FF2B5EF4-FFF2-40B4-BE49-F238E27FC236}">
                <a16:creationId xmlns:a16="http://schemas.microsoft.com/office/drawing/2014/main" id="{DDA0AB73-53CA-95BC-41D6-01E3F11A7D6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8488" y="4060649"/>
            <a:ext cx="1085657" cy="251058"/>
          </a:xfrm>
          <a:prstGeom prst="rect">
            <a:avLst/>
          </a:prstGeom>
        </p:spPr>
      </p:pic>
      <p:sp>
        <p:nvSpPr>
          <p:cNvPr id="17" name="Espace réservé du texte 1">
            <a:extLst>
              <a:ext uri="{FF2B5EF4-FFF2-40B4-BE49-F238E27FC236}">
                <a16:creationId xmlns:a16="http://schemas.microsoft.com/office/drawing/2014/main" id="{9C6D39C0-EB05-199D-FF41-0F3FC6A0F1F6}"/>
              </a:ext>
            </a:extLst>
          </p:cNvPr>
          <p:cNvSpPr txBox="1">
            <a:spLocks/>
          </p:cNvSpPr>
          <p:nvPr/>
        </p:nvSpPr>
        <p:spPr>
          <a:xfrm>
            <a:off x="624133" y="712378"/>
            <a:ext cx="10211259" cy="50295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50" b="0" kern="1200" cap="all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FontTx/>
              <a:buNone/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FontTx/>
              <a:buNone/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FontTx/>
              <a:buNone/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FontTx/>
              <a:buNone/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b="1" dirty="0">
                <a:latin typeface="+mn-lt"/>
              </a:rPr>
              <a:t>A COMPREHENSIVE PORTFOLIO OF THREE RECOGNIZED BRANDS, WITH UNIQUE IDENTITIES AND POSITIONING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FEEBD586-6C86-ED72-0FB1-834E15B85D4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0182" y="6129267"/>
            <a:ext cx="866657" cy="307663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2A038526-C797-0814-A59F-1EF586DB25F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0730" y="4705960"/>
            <a:ext cx="1172900" cy="27123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EA4498DF-0DCC-C118-EDF6-176528175B1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9682" y="6145516"/>
            <a:ext cx="941292" cy="217674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2B147A63-2EBD-4D51-DDD2-9B7C68C481EB}"/>
              </a:ext>
            </a:extLst>
          </p:cNvPr>
          <p:cNvSpPr/>
          <p:nvPr/>
        </p:nvSpPr>
        <p:spPr>
          <a:xfrm>
            <a:off x="3835947" y="6315448"/>
            <a:ext cx="508762" cy="1779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D66C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ax</a:t>
            </a:r>
          </a:p>
        </p:txBody>
      </p:sp>
    </p:spTree>
    <p:extLst>
      <p:ext uri="{BB962C8B-B14F-4D97-AF65-F5344CB8AC3E}">
        <p14:creationId xmlns:p14="http://schemas.microsoft.com/office/powerpoint/2010/main" val="5936140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94E361B-550A-AB88-DD30-3AD89357D5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1556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E361B-550A-AB88-DD30-3AD89357D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Image 26" descr="Une image contenant conception&#10;&#10;Description générée automatiquement avec une confiance moyenne">
            <a:extLst>
              <a:ext uri="{FF2B5EF4-FFF2-40B4-BE49-F238E27FC236}">
                <a16:creationId xmlns:a16="http://schemas.microsoft.com/office/drawing/2014/main" id="{6823A1DE-EF1F-12F6-9D43-F65F6AC8A95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513" y="3876666"/>
            <a:ext cx="1049406" cy="524704"/>
          </a:xfrm>
          <a:prstGeom prst="rect">
            <a:avLst/>
          </a:prstGeom>
        </p:spPr>
      </p:pic>
      <p:pic>
        <p:nvPicPr>
          <p:cNvPr id="29" name="Image 28" descr="Une image contenant Graphique, conception&#10;&#10;Description générée automatiquement">
            <a:extLst>
              <a:ext uri="{FF2B5EF4-FFF2-40B4-BE49-F238E27FC236}">
                <a16:creationId xmlns:a16="http://schemas.microsoft.com/office/drawing/2014/main" id="{2E84C2D0-575D-945D-C391-1252FA485E8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513" y="4993475"/>
            <a:ext cx="1049406" cy="52470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E9D694B0-E6FD-EA7D-A5DA-CD891BFDA75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69920" y="2100973"/>
            <a:ext cx="3442991" cy="1595437"/>
          </a:xfrm>
          <a:prstGeom prst="rect">
            <a:avLst/>
          </a:prstGeom>
        </p:spPr>
      </p:pic>
      <p:sp>
        <p:nvSpPr>
          <p:cNvPr id="12" name="Titre 11">
            <a:extLst>
              <a:ext uri="{FF2B5EF4-FFF2-40B4-BE49-F238E27FC236}">
                <a16:creationId xmlns:a16="http://schemas.microsoft.com/office/drawing/2014/main" id="{8704D85F-AA00-CE0A-61B5-5176BB4EE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1129" y="749300"/>
            <a:ext cx="11271268" cy="715879"/>
          </a:xfrm>
        </p:spPr>
        <p:txBody>
          <a:bodyPr vert="horz">
            <a:normAutofit/>
          </a:bodyPr>
          <a:lstStyle/>
          <a:p>
            <a:pPr indent="2422525"/>
            <a:r>
              <a:rPr lang="en-US" sz="2000" b="1" dirty="0">
                <a:latin typeface="+mn-lt"/>
              </a:rPr>
              <a:t>keeps upgrading its products</a:t>
            </a:r>
            <a:endParaRPr lang="fr-FR" sz="2000" b="1" dirty="0">
              <a:latin typeface="+mn-lt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F203ED6-9A21-CD29-5ED2-715582BB454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4405" y="2100973"/>
            <a:ext cx="3442991" cy="159543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CC0E3A7A-FC5D-3719-11A3-E8CC2E5F8995}"/>
              </a:ext>
            </a:extLst>
          </p:cNvPr>
          <p:cNvSpPr/>
          <p:nvPr/>
        </p:nvSpPr>
        <p:spPr>
          <a:xfrm>
            <a:off x="4545428" y="1595762"/>
            <a:ext cx="3101144" cy="464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abin</a:t>
            </a: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fr-FR" sz="14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xperience</a:t>
            </a:r>
            <a:endParaRPr kumimoji="0" lang="fr-FR" sz="1400" b="1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CC9C6EA-58C7-96B3-4C91-B50221AACED5}"/>
              </a:ext>
            </a:extLst>
          </p:cNvPr>
          <p:cNvSpPr/>
          <p:nvPr/>
        </p:nvSpPr>
        <p:spPr>
          <a:xfrm>
            <a:off x="8215328" y="1595762"/>
            <a:ext cx="3101144" cy="4772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nboard</a:t>
            </a: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servic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C38FC05-50C9-0345-814A-2FD0AEF91E81}"/>
              </a:ext>
            </a:extLst>
          </p:cNvPr>
          <p:cNvSpPr/>
          <p:nvPr/>
        </p:nvSpPr>
        <p:spPr>
          <a:xfrm>
            <a:off x="842743" y="1595762"/>
            <a:ext cx="3092570" cy="464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long the </a:t>
            </a:r>
            <a:r>
              <a:rPr kumimoji="0" lang="fr-FR" sz="14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journey</a:t>
            </a: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fr-FR" sz="1400" b="1" i="0" u="none" strike="noStrike" kern="1200" cap="none" spc="0" normalizeH="0" baseline="0" noProof="0" err="1">
                <a:ln>
                  <a:noFill/>
                </a:ln>
                <a:solidFill>
                  <a:srgbClr val="0800B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xperience</a:t>
            </a:r>
            <a:endParaRPr kumimoji="0" lang="fr-FR" sz="1400" b="1" i="0" u="none" strike="noStrike" kern="1200" cap="none" spc="0" normalizeH="0" baseline="0" noProof="0">
              <a:ln>
                <a:noFill/>
              </a:ln>
              <a:solidFill>
                <a:srgbClr val="0800B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05BE9CB3-B072-7EEC-66B5-36E4F9565F86}"/>
              </a:ext>
            </a:extLst>
          </p:cNvPr>
          <p:cNvSpPr txBox="1"/>
          <p:nvPr/>
        </p:nvSpPr>
        <p:spPr>
          <a:xfrm>
            <a:off x="1454797" y="3837652"/>
            <a:ext cx="21927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ounge upgrade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9976F897-8175-BF37-445F-A0B0E6221F49}"/>
              </a:ext>
            </a:extLst>
          </p:cNvPr>
          <p:cNvSpPr txBox="1"/>
          <p:nvPr/>
        </p:nvSpPr>
        <p:spPr>
          <a:xfrm>
            <a:off x="1454797" y="4954461"/>
            <a:ext cx="22614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artner services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F0B468A1-5E21-836E-8854-B14006AEC2B7}"/>
              </a:ext>
            </a:extLst>
          </p:cNvPr>
          <p:cNvSpPr txBox="1"/>
          <p:nvPr/>
        </p:nvSpPr>
        <p:spPr>
          <a:xfrm>
            <a:off x="1646919" y="4094760"/>
            <a:ext cx="1190995" cy="774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D0DAE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atering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D0DAE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mfort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D0DAE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esign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DC29ACF8-1B77-3C1A-8739-9CC743032315}"/>
              </a:ext>
            </a:extLst>
          </p:cNvPr>
          <p:cNvSpPr txBox="1"/>
          <p:nvPr/>
        </p:nvSpPr>
        <p:spPr>
          <a:xfrm>
            <a:off x="1646919" y="5203679"/>
            <a:ext cx="2264264" cy="5257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D0DAE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uggage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oor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-to-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oor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51039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D0DAE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5103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ncierge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CAF85A35-08B1-FE08-337A-EB98A6593246}"/>
              </a:ext>
            </a:extLst>
          </p:cNvPr>
          <p:cNvSpPr txBox="1"/>
          <p:nvPr/>
        </p:nvSpPr>
        <p:spPr>
          <a:xfrm>
            <a:off x="8904577" y="3897071"/>
            <a:ext cx="25191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High-speed Wi-Fi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2CE9F75E-E859-CC29-AD88-6EF71ADB0A38}"/>
              </a:ext>
            </a:extLst>
          </p:cNvPr>
          <p:cNvSpPr txBox="1"/>
          <p:nvPr/>
        </p:nvSpPr>
        <p:spPr>
          <a:xfrm>
            <a:off x="8904577" y="4402746"/>
            <a:ext cx="2519157" cy="533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n-flight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ntertainment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system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32A4F299-CE77-CCEE-57DE-F9CBBBAF06B4}"/>
              </a:ext>
            </a:extLst>
          </p:cNvPr>
          <p:cNvSpPr txBox="1"/>
          <p:nvPr/>
        </p:nvSpPr>
        <p:spPr>
          <a:xfrm>
            <a:off x="8904577" y="5126374"/>
            <a:ext cx="2519157" cy="533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xtend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French excellence catering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38F584F2-A75B-B121-6FFC-4622D83C5C9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8814" y="2100973"/>
            <a:ext cx="3479612" cy="1560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28D7CD2D-439F-EFAD-0EB0-3BC024BE5938}"/>
              </a:ext>
            </a:extLst>
          </p:cNvPr>
          <p:cNvSpPr txBox="1"/>
          <p:nvPr/>
        </p:nvSpPr>
        <p:spPr>
          <a:xfrm>
            <a:off x="5476240" y="3931542"/>
            <a:ext cx="22814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ew First-class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abins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in 2025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541EA522-8EB1-BA31-496A-093BD83DF7EB}"/>
              </a:ext>
            </a:extLst>
          </p:cNvPr>
          <p:cNvSpPr txBox="1"/>
          <p:nvPr/>
        </p:nvSpPr>
        <p:spPr>
          <a:xfrm>
            <a:off x="5476240" y="4495091"/>
            <a:ext cx="22814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ew Business class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abins</a:t>
            </a:r>
            <a:endParaRPr kumimoji="0" lang="fr-FR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99FE9BF-549A-2C36-0167-A06488BC9837}"/>
              </a:ext>
            </a:extLst>
          </p:cNvPr>
          <p:cNvSpPr txBox="1"/>
          <p:nvPr/>
        </p:nvSpPr>
        <p:spPr>
          <a:xfrm>
            <a:off x="5476240" y="5128080"/>
            <a:ext cx="22814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ew Premium class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abins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A78190B5-5269-22CF-A2A1-0F47F0EC96C5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3718" y="3954681"/>
            <a:ext cx="957282" cy="303407"/>
          </a:xfrm>
          <a:prstGeom prst="rect">
            <a:avLst/>
          </a:prstGeom>
        </p:spPr>
      </p:pic>
      <p:pic>
        <p:nvPicPr>
          <p:cNvPr id="17" name="Picture 4" descr="Business">
            <a:extLst>
              <a:ext uri="{FF2B5EF4-FFF2-40B4-BE49-F238E27FC236}">
                <a16:creationId xmlns:a16="http://schemas.microsoft.com/office/drawing/2014/main" id="{365746EF-051F-CD68-84B2-5F879FA882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33792" y="4774682"/>
            <a:ext cx="698686" cy="6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55">
            <a:extLst>
              <a:ext uri="{FF2B5EF4-FFF2-40B4-BE49-F238E27FC236}">
                <a16:creationId xmlns:a16="http://schemas.microsoft.com/office/drawing/2014/main" id="{BDE35101-FCA9-61B7-FA81-0AC3D86E1FA3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129" y="799259"/>
            <a:ext cx="2325702" cy="221668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DA352173-994E-32BA-6715-8BF5B329B1C5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0297" y="3951083"/>
            <a:ext cx="644976" cy="322488"/>
          </a:xfrm>
          <a:prstGeom prst="rect">
            <a:avLst/>
          </a:prstGeom>
        </p:spPr>
      </p:pic>
      <p:pic>
        <p:nvPicPr>
          <p:cNvPr id="34" name="Image 33" descr="Une image contenant capture d’écran, noir, Graphique&#10;&#10;Description générée automatiquement">
            <a:extLst>
              <a:ext uri="{FF2B5EF4-FFF2-40B4-BE49-F238E27FC236}">
                <a16:creationId xmlns:a16="http://schemas.microsoft.com/office/drawing/2014/main" id="{BBD8C477-E782-7DB3-E671-34FB92D257C2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1933" y="4464710"/>
            <a:ext cx="921704" cy="460852"/>
          </a:xfrm>
          <a:prstGeom prst="rect">
            <a:avLst/>
          </a:prstGeom>
        </p:spPr>
      </p:pic>
      <p:pic>
        <p:nvPicPr>
          <p:cNvPr id="44" name="Image 43" descr="Une image contenant noir, obscurité&#10;&#10;Description générée automatiquement">
            <a:extLst>
              <a:ext uri="{FF2B5EF4-FFF2-40B4-BE49-F238E27FC236}">
                <a16:creationId xmlns:a16="http://schemas.microsoft.com/office/drawing/2014/main" id="{DE330886-4EC6-592F-B35A-8918C2D39F48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3531" y="5194258"/>
            <a:ext cx="718508" cy="359254"/>
          </a:xfrm>
          <a:prstGeom prst="rect">
            <a:avLst/>
          </a:prstGeom>
        </p:spPr>
      </p:pic>
      <p:grpSp>
        <p:nvGrpSpPr>
          <p:cNvPr id="7" name="Groupe 6">
            <a:extLst>
              <a:ext uri="{FF2B5EF4-FFF2-40B4-BE49-F238E27FC236}">
                <a16:creationId xmlns:a16="http://schemas.microsoft.com/office/drawing/2014/main" id="{B9C5FA20-B1CB-2FD9-F37B-4EFEAD27CEBA}"/>
              </a:ext>
            </a:extLst>
          </p:cNvPr>
          <p:cNvGrpSpPr/>
          <p:nvPr/>
        </p:nvGrpSpPr>
        <p:grpSpPr>
          <a:xfrm>
            <a:off x="4650782" y="5293895"/>
            <a:ext cx="655829" cy="98418"/>
            <a:chOff x="4545428" y="5437195"/>
            <a:chExt cx="655829" cy="98418"/>
          </a:xfrm>
        </p:grpSpPr>
        <p:pic>
          <p:nvPicPr>
            <p:cNvPr id="11" name="Picture 6" descr="Premium Economy">
              <a:extLst>
                <a:ext uri="{FF2B5EF4-FFF2-40B4-BE49-F238E27FC236}">
                  <a16:creationId xmlns:a16="http://schemas.microsoft.com/office/drawing/2014/main" id="{C07C6EEF-43AA-88B8-FA9F-3A60B2EBCB2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545428" y="5448973"/>
              <a:ext cx="563147" cy="866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6" descr="Premium Economy">
              <a:extLst>
                <a:ext uri="{FF2B5EF4-FFF2-40B4-BE49-F238E27FC236}">
                  <a16:creationId xmlns:a16="http://schemas.microsoft.com/office/drawing/2014/main" id="{5DE7C7CF-2B84-F235-656F-050769F6CFC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6672" t="-11128" b="-1"/>
            <a:stretch/>
          </p:blipFill>
          <p:spPr bwMode="auto">
            <a:xfrm>
              <a:off x="5110336" y="5437195"/>
              <a:ext cx="90921" cy="9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930404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IMAGE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IMAGE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IMAGE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1stJ.6IQecuLaLkxzUO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0_Thème Office">
  <a:themeElements>
    <a:clrScheme name="AFKLM">
      <a:dk1>
        <a:srgbClr val="051039"/>
      </a:dk1>
      <a:lt1>
        <a:sysClr val="window" lastClr="FFFFFF"/>
      </a:lt1>
      <a:dk2>
        <a:srgbClr val="0800B9"/>
      </a:dk2>
      <a:lt2>
        <a:srgbClr val="D0DAE2"/>
      </a:lt2>
      <a:accent1>
        <a:srgbClr val="0800B9"/>
      </a:accent1>
      <a:accent2>
        <a:srgbClr val="00D66C"/>
      </a:accent2>
      <a:accent3>
        <a:srgbClr val="C7E5EA"/>
      </a:accent3>
      <a:accent4>
        <a:srgbClr val="D2204C"/>
      </a:accent4>
      <a:accent5>
        <a:srgbClr val="009EE3"/>
      </a:accent5>
      <a:accent6>
        <a:srgbClr val="7CBE33"/>
      </a:accent6>
      <a:hlink>
        <a:srgbClr val="E5882E"/>
      </a:hlink>
      <a:folHlink>
        <a:srgbClr val="D2204C"/>
      </a:folHlink>
    </a:clrScheme>
    <a:fontScheme name="AFKLM">
      <a:majorFont>
        <a:latin typeface="Montserrat Ligh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FKLM_Gabarit_2023_Final copie" id="{23E02F72-D0B9-AC4C-8D5A-3571A353C727}" vid="{04CECD5F-CC3A-BD47-88FE-D75CF91D155C}"/>
    </a:ext>
  </a:extLst>
</a:theme>
</file>

<file path=ppt/theme/theme2.xml><?xml version="1.0" encoding="utf-8"?>
<a:theme xmlns:a="http://schemas.openxmlformats.org/drawingml/2006/main" name="2_Thème Office">
  <a:themeElements>
    <a:clrScheme name="AFKLM">
      <a:dk1>
        <a:sysClr val="windowText" lastClr="000000"/>
      </a:dk1>
      <a:lt1>
        <a:sysClr val="window" lastClr="FFFFFF"/>
      </a:lt1>
      <a:dk2>
        <a:srgbClr val="0800B9"/>
      </a:dk2>
      <a:lt2>
        <a:srgbClr val="D0DAE2"/>
      </a:lt2>
      <a:accent1>
        <a:srgbClr val="0800B9"/>
      </a:accent1>
      <a:accent2>
        <a:srgbClr val="D0DAE2"/>
      </a:accent2>
      <a:accent3>
        <a:srgbClr val="C7E5EA"/>
      </a:accent3>
      <a:accent4>
        <a:srgbClr val="D2204C"/>
      </a:accent4>
      <a:accent5>
        <a:srgbClr val="009EE3"/>
      </a:accent5>
      <a:accent6>
        <a:srgbClr val="7CBE33"/>
      </a:accent6>
      <a:hlink>
        <a:srgbClr val="E5882E"/>
      </a:hlink>
      <a:folHlink>
        <a:srgbClr val="D2204C"/>
      </a:folHlink>
    </a:clrScheme>
    <a:fontScheme name="AFKLM">
      <a:majorFont>
        <a:latin typeface="Montserrat Ligh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FKLM_Gabarit_2023_Final copie" id="{23E02F72-D0B9-AC4C-8D5A-3571A353C727}" vid="{04CECD5F-CC3A-BD47-88FE-D75CF91D155C}"/>
    </a:ext>
  </a:extLst>
</a:theme>
</file>

<file path=ppt/theme/theme3.xml><?xml version="1.0" encoding="utf-8"?>
<a:theme xmlns:a="http://schemas.openxmlformats.org/drawingml/2006/main" name="9_Thème Office">
  <a:themeElements>
    <a:clrScheme name="AFKLM">
      <a:dk1>
        <a:srgbClr val="051039"/>
      </a:dk1>
      <a:lt1>
        <a:sysClr val="window" lastClr="FFFFFF"/>
      </a:lt1>
      <a:dk2>
        <a:srgbClr val="0800B9"/>
      </a:dk2>
      <a:lt2>
        <a:srgbClr val="D0DAE2"/>
      </a:lt2>
      <a:accent1>
        <a:srgbClr val="0800B9"/>
      </a:accent1>
      <a:accent2>
        <a:srgbClr val="00D66C"/>
      </a:accent2>
      <a:accent3>
        <a:srgbClr val="C7E5EA"/>
      </a:accent3>
      <a:accent4>
        <a:srgbClr val="D2204C"/>
      </a:accent4>
      <a:accent5>
        <a:srgbClr val="009EE3"/>
      </a:accent5>
      <a:accent6>
        <a:srgbClr val="7CBE33"/>
      </a:accent6>
      <a:hlink>
        <a:srgbClr val="E5882E"/>
      </a:hlink>
      <a:folHlink>
        <a:srgbClr val="D2204C"/>
      </a:folHlink>
    </a:clrScheme>
    <a:fontScheme name="AFKLM">
      <a:majorFont>
        <a:latin typeface="Montserrat Ligh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FKLM_Gabarit_2023_Final copie" id="{23E02F72-D0B9-AC4C-8D5A-3571A353C727}" vid="{04CECD5F-CC3A-BD47-88FE-D75CF91D155C}"/>
    </a:ext>
  </a:extLst>
</a:theme>
</file>

<file path=ppt/theme/theme4.xml><?xml version="1.0" encoding="utf-8"?>
<a:theme xmlns:a="http://schemas.openxmlformats.org/drawingml/2006/main" name="22_Thème Office">
  <a:themeElements>
    <a:clrScheme name="AFKLM">
      <a:dk1>
        <a:srgbClr val="051039"/>
      </a:dk1>
      <a:lt1>
        <a:sysClr val="window" lastClr="FFFFFF"/>
      </a:lt1>
      <a:dk2>
        <a:srgbClr val="0800B9"/>
      </a:dk2>
      <a:lt2>
        <a:srgbClr val="D0DAE2"/>
      </a:lt2>
      <a:accent1>
        <a:srgbClr val="0800B9"/>
      </a:accent1>
      <a:accent2>
        <a:srgbClr val="00D66C"/>
      </a:accent2>
      <a:accent3>
        <a:srgbClr val="C7E5EA"/>
      </a:accent3>
      <a:accent4>
        <a:srgbClr val="D2204C"/>
      </a:accent4>
      <a:accent5>
        <a:srgbClr val="009EE3"/>
      </a:accent5>
      <a:accent6>
        <a:srgbClr val="7CBE33"/>
      </a:accent6>
      <a:hlink>
        <a:srgbClr val="E5882E"/>
      </a:hlink>
      <a:folHlink>
        <a:srgbClr val="D2204C"/>
      </a:folHlink>
    </a:clrScheme>
    <a:fontScheme name="AFKLM">
      <a:majorFont>
        <a:latin typeface="Montserrat Ligh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FKLM_Gabarit_2023_Final copie" id="{23E02F72-D0B9-AC4C-8D5A-3571A353C727}" vid="{04CECD5F-CC3A-BD47-88FE-D75CF91D155C}"/>
    </a:ext>
  </a:extLst>
</a:theme>
</file>

<file path=ppt/theme/theme5.xml><?xml version="1.0" encoding="utf-8"?>
<a:theme xmlns:a="http://schemas.openxmlformats.org/drawingml/2006/main" name="24_Thème Office">
  <a:themeElements>
    <a:clrScheme name="AFKLM">
      <a:dk1>
        <a:srgbClr val="051039"/>
      </a:dk1>
      <a:lt1>
        <a:sysClr val="window" lastClr="FFFFFF"/>
      </a:lt1>
      <a:dk2>
        <a:srgbClr val="0800B9"/>
      </a:dk2>
      <a:lt2>
        <a:srgbClr val="D0DAE2"/>
      </a:lt2>
      <a:accent1>
        <a:srgbClr val="0800B9"/>
      </a:accent1>
      <a:accent2>
        <a:srgbClr val="00D66C"/>
      </a:accent2>
      <a:accent3>
        <a:srgbClr val="C7E5EA"/>
      </a:accent3>
      <a:accent4>
        <a:srgbClr val="D2204C"/>
      </a:accent4>
      <a:accent5>
        <a:srgbClr val="009EE3"/>
      </a:accent5>
      <a:accent6>
        <a:srgbClr val="7CBE33"/>
      </a:accent6>
      <a:hlink>
        <a:srgbClr val="E5882E"/>
      </a:hlink>
      <a:folHlink>
        <a:srgbClr val="D2204C"/>
      </a:folHlink>
    </a:clrScheme>
    <a:fontScheme name="AFKLM">
      <a:majorFont>
        <a:latin typeface="Montserrat Ligh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FKLM_Gabarit_2023_Final copie" id="{23E02F72-D0B9-AC4C-8D5A-3571A353C727}" vid="{04CECD5F-CC3A-BD47-88FE-D75CF91D155C}"/>
    </a:ext>
  </a:extLst>
</a:theme>
</file>

<file path=ppt/theme/theme6.xml><?xml version="1.0" encoding="utf-8"?>
<a:theme xmlns:a="http://schemas.openxmlformats.org/drawingml/2006/main" name="25_Thème Office">
  <a:themeElements>
    <a:clrScheme name="AFKLM">
      <a:dk1>
        <a:srgbClr val="051039"/>
      </a:dk1>
      <a:lt1>
        <a:sysClr val="window" lastClr="FFFFFF"/>
      </a:lt1>
      <a:dk2>
        <a:srgbClr val="0800B9"/>
      </a:dk2>
      <a:lt2>
        <a:srgbClr val="D0DAE2"/>
      </a:lt2>
      <a:accent1>
        <a:srgbClr val="0800B9"/>
      </a:accent1>
      <a:accent2>
        <a:srgbClr val="00D66C"/>
      </a:accent2>
      <a:accent3>
        <a:srgbClr val="C7E5EA"/>
      </a:accent3>
      <a:accent4>
        <a:srgbClr val="D2204C"/>
      </a:accent4>
      <a:accent5>
        <a:srgbClr val="009EE3"/>
      </a:accent5>
      <a:accent6>
        <a:srgbClr val="7CBE33"/>
      </a:accent6>
      <a:hlink>
        <a:srgbClr val="E5882E"/>
      </a:hlink>
      <a:folHlink>
        <a:srgbClr val="D2204C"/>
      </a:folHlink>
    </a:clrScheme>
    <a:fontScheme name="AFKLM">
      <a:majorFont>
        <a:latin typeface="Montserrat Ligh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FKLM_Gabarit_2023_Final copie" id="{23E02F72-D0B9-AC4C-8D5A-3571A353C727}" vid="{04CECD5F-CC3A-BD47-88FE-D75CF91D155C}"/>
    </a:ext>
  </a:extLst>
</a:theme>
</file>

<file path=ppt/theme/theme7.xml><?xml version="1.0" encoding="utf-8"?>
<a:theme xmlns:a="http://schemas.openxmlformats.org/drawingml/2006/main" name="19_Thème Office">
  <a:themeElements>
    <a:clrScheme name="AFKLM">
      <a:dk1>
        <a:srgbClr val="051039"/>
      </a:dk1>
      <a:lt1>
        <a:sysClr val="window" lastClr="FFFFFF"/>
      </a:lt1>
      <a:dk2>
        <a:srgbClr val="0800B9"/>
      </a:dk2>
      <a:lt2>
        <a:srgbClr val="D0DAE2"/>
      </a:lt2>
      <a:accent1>
        <a:srgbClr val="0800B9"/>
      </a:accent1>
      <a:accent2>
        <a:srgbClr val="00D66C"/>
      </a:accent2>
      <a:accent3>
        <a:srgbClr val="C7E5EA"/>
      </a:accent3>
      <a:accent4>
        <a:srgbClr val="D2204C"/>
      </a:accent4>
      <a:accent5>
        <a:srgbClr val="009EE3"/>
      </a:accent5>
      <a:accent6>
        <a:srgbClr val="7CBE33"/>
      </a:accent6>
      <a:hlink>
        <a:srgbClr val="E5882E"/>
      </a:hlink>
      <a:folHlink>
        <a:srgbClr val="D2204C"/>
      </a:folHlink>
    </a:clrScheme>
    <a:fontScheme name="AFKLM">
      <a:majorFont>
        <a:latin typeface="Montserrat Ligh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FKLM_Gabarit_2023_Final copie" id="{23E02F72-D0B9-AC4C-8D5A-3571A353C727}" vid="{04CECD5F-CC3A-BD47-88FE-D75CF91D155C}"/>
    </a:ext>
  </a:extLst>
</a:theme>
</file>

<file path=ppt/theme/theme8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3DE600BE10E8C4C894274F9DD385D18" ma:contentTypeVersion="16" ma:contentTypeDescription="Create a new document." ma:contentTypeScope="" ma:versionID="9215dae9ee76baf7465e16a2411cda25">
  <xsd:schema xmlns:xsd="http://www.w3.org/2001/XMLSchema" xmlns:xs="http://www.w3.org/2001/XMLSchema" xmlns:p="http://schemas.microsoft.com/office/2006/metadata/properties" xmlns:ns2="d4afdf01-6cfa-4da1-aa48-3293051dc551" xmlns:ns3="f6e9ab16-20c4-4cf2-886c-3858f40c3884" targetNamespace="http://schemas.microsoft.com/office/2006/metadata/properties" ma:root="true" ma:fieldsID="9b7e52ac51b390b1db44ef300eef11b2" ns2:_="" ns3:_="">
    <xsd:import namespace="d4afdf01-6cfa-4da1-aa48-3293051dc551"/>
    <xsd:import namespace="f6e9ab16-20c4-4cf2-886c-3858f40c388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afdf01-6cfa-4da1-aa48-3293051dc5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20f79066-3228-4f10-809b-20d663e726e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e9ab16-20c4-4cf2-886c-3858f40c3884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a8cb568c-30ef-469d-b63e-651dd4b868cb}" ma:internalName="TaxCatchAll" ma:showField="CatchAllData" ma:web="f6e9ab16-20c4-4cf2-886c-3858f40c388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6e9ab16-20c4-4cf2-886c-3858f40c3884">
      <UserInfo>
        <DisplayName>Klinkers, Michiel (FIIR) - AFKL</DisplayName>
        <AccountId>15</AccountId>
        <AccountType/>
      </UserInfo>
      <UserInfo>
        <DisplayName>Mami, Marouane (FIIR) - AFKL</DisplayName>
        <AccountId>10</AccountId>
        <AccountType/>
      </UserInfo>
      <UserInfo>
        <DisplayName>Robichon, Sebastien (AFKL SP) - AFKL</DisplayName>
        <AccountId>23</AccountId>
        <AccountType/>
      </UserInfo>
      <UserInfo>
        <DisplayName>Geay, Marianne (SPCS) - AFKL</DisplayName>
        <AccountId>13</AccountId>
        <AccountType/>
      </UserInfo>
      <UserInfo>
        <DisplayName>Wang, Jianming (SPCS) - AFKL</DisplayName>
        <AccountId>27</AccountId>
        <AccountType/>
      </UserInfo>
    </SharedWithUsers>
    <TaxCatchAll xmlns="f6e9ab16-20c4-4cf2-886c-3858f40c3884" xsi:nil="true"/>
    <lcf76f155ced4ddcb4097134ff3c332f xmlns="d4afdf01-6cfa-4da1-aa48-3293051dc551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A02CDEC-A1E3-4319-A473-0FBB781647C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4afdf01-6cfa-4da1-aa48-3293051dc551"/>
    <ds:schemaRef ds:uri="f6e9ab16-20c4-4cf2-886c-3858f40c388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A63184A-4E54-4EA7-B6A0-F7AD4AD17C8B}">
  <ds:schemaRefs>
    <ds:schemaRef ds:uri="http://www.w3.org/XML/1998/namespace"/>
    <ds:schemaRef ds:uri="http://schemas.microsoft.com/office/2006/documentManagement/types"/>
    <ds:schemaRef ds:uri="http://schemas.microsoft.com/office/2006/metadata/properties"/>
    <ds:schemaRef ds:uri="d4afdf01-6cfa-4da1-aa48-3293051dc551"/>
    <ds:schemaRef ds:uri="http://purl.org/dc/dcmitype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f6e9ab16-20c4-4cf2-886c-3858f40c3884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5BE07AC-2784-478B-B194-A4D7835CF397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9b802d8b-33fa-40fb-acb7-9ffdbd1919eb}" enabled="0" method="" siteId="{9b802d8b-33fa-40fb-acb7-9ffdbd1919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2805</TotalTime>
  <Words>1443</Words>
  <Application>Microsoft Office PowerPoint</Application>
  <PresentationFormat>Grand écran</PresentationFormat>
  <Paragraphs>288</Paragraphs>
  <Slides>23</Slides>
  <Notes>15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7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23</vt:i4>
      </vt:variant>
    </vt:vector>
  </HeadingPairs>
  <TitlesOfParts>
    <vt:vector size="41" baseType="lpstr">
      <vt:lpstr>Arial</vt:lpstr>
      <vt:lpstr>Calibri</vt:lpstr>
      <vt:lpstr>Manrope</vt:lpstr>
      <vt:lpstr>Montserrat</vt:lpstr>
      <vt:lpstr>Montserrat (Body)</vt:lpstr>
      <vt:lpstr>Montserrat ExtraBold</vt:lpstr>
      <vt:lpstr>Montserrat Light</vt:lpstr>
      <vt:lpstr>Montserrat SemiBold</vt:lpstr>
      <vt:lpstr>Wingdings</vt:lpstr>
      <vt:lpstr>10_Thème Office</vt:lpstr>
      <vt:lpstr>2_Thème Office</vt:lpstr>
      <vt:lpstr>9_Thème Office</vt:lpstr>
      <vt:lpstr>22_Thème Office</vt:lpstr>
      <vt:lpstr>24_Thème Office</vt:lpstr>
      <vt:lpstr>25_Thème Office</vt:lpstr>
      <vt:lpstr>19_Thème Office</vt:lpstr>
      <vt:lpstr>Diapositive think-cell</vt:lpstr>
      <vt:lpstr>think-cell Slide</vt:lpstr>
      <vt:lpstr>Présentation PowerPoint</vt:lpstr>
      <vt:lpstr>Our purpose ALIGNs Business Strategy with Sustainable Customer Expectations for a Better Tomorrow </vt:lpstr>
      <vt:lpstr>Our people build our future and our success</vt:lpstr>
      <vt:lpstr>Présentation PowerPoint</vt:lpstr>
      <vt:lpstr>Our renewed STRATEGIC AMBITION</vt:lpstr>
      <vt:lpstr>Présentation PowerPoint</vt:lpstr>
      <vt:lpstr>Présentation PowerPoint</vt:lpstr>
      <vt:lpstr>Présentation PowerPoint</vt:lpstr>
      <vt:lpstr>keeps upgrading its products</vt:lpstr>
      <vt:lpstr>FULL FOCUS ON FURTHER ENHANCING              CUSTOMER EXPERIENCE </vt:lpstr>
      <vt:lpstr>                                IS EXPANDING its OFFER AND continues to grow</vt:lpstr>
      <vt:lpstr>TOGETHER, AIR FRANCE, KLM and Transavia OFFER TRAVELLERS ONE OF THE WORLD'S MOST EXTENSIVE and diversified NETWORKS</vt:lpstr>
      <vt:lpstr>AS a profitable world-leading multi-product MRO provider, Air France-KLM E&amp;M is a key asset for the group</vt:lpstr>
      <vt:lpstr>AIR FRANCE-klm Cargo remains a strong player in a rapidly changing market</vt:lpstr>
      <vt:lpstr>Flying Blue is a leading European loyalty program</vt:lpstr>
      <vt:lpstr>Présentation PowerPoint</vt:lpstr>
      <vt:lpstr>We have embarked on A successful trajectory towards a more sustainable growth</vt:lpstr>
      <vt:lpstr>Major levers to reach air France-KLM’s emission reduction targets by 2030</vt:lpstr>
      <vt:lpstr>OUR FLEET RENEWAL STRATEGY DELIVERS STRONG CONTRIBUTION  TO OUR ENVIRONMENTAL ROADMAP</vt:lpstr>
      <vt:lpstr>AIR FRANCE-KLM IS fully committed TO SAF, with the ambition of incorporating 10% of SAF by 2030</vt:lpstr>
      <vt:lpstr>Air France-KLM sourcing initiatives to reach 2030 SAF target keeping flexibility in volumes to match our demand</vt:lpstr>
      <vt:lpstr>Greater efficiency in our operations and additional commercial measures can be leveraged to support our decarbonization trajectory</vt:lpstr>
      <vt:lpstr>MAIN AWARD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Wang, Jianming (SPCS) - AFKL</dc:creator>
  <cp:lastModifiedBy>Mahiette, Melanie (SCCO) - AFKL</cp:lastModifiedBy>
  <cp:revision>17</cp:revision>
  <cp:lastPrinted>2023-12-07T17:31:08Z</cp:lastPrinted>
  <dcterms:created xsi:type="dcterms:W3CDTF">2023-11-02T12:34:28Z</dcterms:created>
  <dcterms:modified xsi:type="dcterms:W3CDTF">2026-04-09T16:37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DE600BE10E8C4C894274F9DD385D18</vt:lpwstr>
  </property>
  <property fmtid="{D5CDD505-2E9C-101B-9397-08002B2CF9AE}" pid="3" name="MediaServiceImageTags">
    <vt:lpwstr/>
  </property>
</Properties>
</file>